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5"/>
  </p:notesMasterIdLst>
  <p:sldIdLst>
    <p:sldId id="256" r:id="rId2"/>
    <p:sldId id="2145706386" r:id="rId3"/>
    <p:sldId id="258" r:id="rId4"/>
    <p:sldId id="2145706218" r:id="rId5"/>
    <p:sldId id="2145706412" r:id="rId6"/>
    <p:sldId id="2145706416" r:id="rId7"/>
    <p:sldId id="2145706220" r:id="rId8"/>
    <p:sldId id="2145706224" r:id="rId9"/>
    <p:sldId id="2145706248" r:id="rId10"/>
    <p:sldId id="2145706413" r:id="rId11"/>
    <p:sldId id="2145706414" r:id="rId12"/>
    <p:sldId id="2145706415" r:id="rId13"/>
    <p:sldId id="260" r:id="rId14"/>
    <p:sldId id="2145706313" r:id="rId15"/>
    <p:sldId id="2145706314" r:id="rId16"/>
    <p:sldId id="2145706355" r:id="rId17"/>
    <p:sldId id="2145706356" r:id="rId18"/>
    <p:sldId id="325" r:id="rId19"/>
    <p:sldId id="274" r:id="rId20"/>
    <p:sldId id="310" r:id="rId21"/>
    <p:sldId id="2145706394" r:id="rId22"/>
    <p:sldId id="2145706387" r:id="rId23"/>
    <p:sldId id="2145706389" r:id="rId24"/>
    <p:sldId id="2145706365" r:id="rId25"/>
    <p:sldId id="2145706334" r:id="rId26"/>
    <p:sldId id="2145706384" r:id="rId27"/>
    <p:sldId id="2145706380" r:id="rId28"/>
    <p:sldId id="2145706385" r:id="rId29"/>
    <p:sldId id="2145706366" r:id="rId30"/>
    <p:sldId id="2145706367" r:id="rId31"/>
    <p:sldId id="2145706377" r:id="rId32"/>
    <p:sldId id="2145706378" r:id="rId33"/>
    <p:sldId id="2145706396" r:id="rId34"/>
    <p:sldId id="2145706410" r:id="rId35"/>
    <p:sldId id="2145706390" r:id="rId36"/>
    <p:sldId id="2145706264" r:id="rId37"/>
    <p:sldId id="2145706401" r:id="rId38"/>
    <p:sldId id="2145706309" r:id="rId39"/>
    <p:sldId id="2145706310" r:id="rId40"/>
    <p:sldId id="2145706397" r:id="rId41"/>
    <p:sldId id="2145706398" r:id="rId42"/>
    <p:sldId id="2145706381" r:id="rId43"/>
    <p:sldId id="309" r:id="rId44"/>
  </p:sldIdLst>
  <p:sldSz cx="18288000" cy="10287000"/>
  <p:notesSz cx="7559675" cy="10691813"/>
  <p:custDataLst>
    <p:tags r:id="rId4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40" userDrawn="1">
          <p15:clr>
            <a:srgbClr val="A4A3A4"/>
          </p15:clr>
        </p15:guide>
        <p15:guide id="2" pos="57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81" autoAdjust="0"/>
    <p:restoredTop sz="94740"/>
  </p:normalViewPr>
  <p:slideViewPr>
    <p:cSldViewPr snapToGrid="0" showGuides="1">
      <p:cViewPr varScale="1">
        <p:scale>
          <a:sx n="82" d="100"/>
          <a:sy n="82" d="100"/>
        </p:scale>
        <p:origin x="704" y="184"/>
      </p:cViewPr>
      <p:guideLst>
        <p:guide orient="horz" pos="3240"/>
        <p:guide pos="57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281488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6A7870-66B9-4D0D-A5B0-EAA2F36A1D83}" type="datetimeFigureOut">
              <a:rPr lang="ru-RU" smtClean="0"/>
              <a:t>20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281488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622DD7-624F-4E61-9D31-11AB75BB40C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3971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41239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37892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41273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0519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08543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6194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83102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6335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12262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Times New Roman" charset="0"/>
                <a:ea typeface="Times New Roman" charset="0"/>
                <a:cs typeface="Times New Roman" charset="0"/>
              </a:rPr>
              <a:t>Ранее в Приказе Минздрава России от 29.03.2019 N 173н</a:t>
            </a:r>
            <a:r>
              <a:rPr lang="en-US" dirty="0">
                <a:latin typeface="Times New Roman" charset="0"/>
                <a:ea typeface="Times New Roman" charset="0"/>
                <a:cs typeface="Times New Roman" charset="0"/>
              </a:rPr>
              <a:t> </a:t>
            </a:r>
            <a:r>
              <a:rPr lang="ru-RU" dirty="0">
                <a:latin typeface="Times New Roman" charset="0"/>
                <a:ea typeface="Times New Roman" charset="0"/>
                <a:cs typeface="Times New Roman" charset="0"/>
              </a:rPr>
              <a:t>звучало, что «В рамках диспансерного наблюдения организуется проведение профилактического медицинского осмотра»</a:t>
            </a:r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7BFF2-9657-4A27-B488-2E9BF90091B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054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ХСН находится в Перечне заболеваний, при наличии которых устанавливается Д-наблюдение врачом-терапевтом, а также в Перечне для Д-наблюдения врачом-кардиологом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D7BFF2-9657-4A27-B488-2E9BF90091B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527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702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74423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54253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5767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622DD7-624F-4E61-9D31-11AB75BB40C2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1329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24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1645848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5" name="PlaceHolder 3"/>
          <p:cNvSpPr>
            <a:spLocks noGrp="1"/>
          </p:cNvSpPr>
          <p:nvPr>
            <p:ph type="body"/>
          </p:nvPr>
        </p:nvSpPr>
        <p:spPr>
          <a:xfrm>
            <a:off x="914400" y="5523120"/>
            <a:ext cx="1645848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 type="body"/>
          </p:nvPr>
        </p:nvSpPr>
        <p:spPr>
          <a:xfrm>
            <a:off x="934812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 type="body"/>
          </p:nvPr>
        </p:nvSpPr>
        <p:spPr>
          <a:xfrm>
            <a:off x="914400" y="552312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0" name="PlaceHolder 5"/>
          <p:cNvSpPr>
            <a:spLocks noGrp="1"/>
          </p:cNvSpPr>
          <p:nvPr>
            <p:ph type="body"/>
          </p:nvPr>
        </p:nvSpPr>
        <p:spPr>
          <a:xfrm>
            <a:off x="9348120" y="552312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 type="body"/>
          </p:nvPr>
        </p:nvSpPr>
        <p:spPr>
          <a:xfrm>
            <a:off x="6479280" y="240696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 type="body"/>
          </p:nvPr>
        </p:nvSpPr>
        <p:spPr>
          <a:xfrm>
            <a:off x="12044160" y="240696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 type="body"/>
          </p:nvPr>
        </p:nvSpPr>
        <p:spPr>
          <a:xfrm>
            <a:off x="914400" y="552312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6" name="PlaceHolder 6"/>
          <p:cNvSpPr>
            <a:spLocks noGrp="1"/>
          </p:cNvSpPr>
          <p:nvPr>
            <p:ph type="body"/>
          </p:nvPr>
        </p:nvSpPr>
        <p:spPr>
          <a:xfrm>
            <a:off x="6479280" y="552312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37" name="PlaceHolder 7"/>
          <p:cNvSpPr>
            <a:spLocks noGrp="1"/>
          </p:cNvSpPr>
          <p:nvPr>
            <p:ph type="body"/>
          </p:nvPr>
        </p:nvSpPr>
        <p:spPr>
          <a:xfrm>
            <a:off x="12044160" y="5523120"/>
            <a:ext cx="529956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027" y="298060"/>
            <a:ext cx="17470976" cy="1296605"/>
          </a:xfrm>
          <a:prstGeom prst="rect">
            <a:avLst/>
          </a:prstGeom>
        </p:spPr>
        <p:txBody>
          <a:bodyPr/>
          <a:lstStyle>
            <a:lvl1pPr>
              <a:defRPr cap="none" baseline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6027" y="2802965"/>
            <a:ext cx="17470976" cy="628468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3"/>
          </p:nvPr>
        </p:nvSpPr>
        <p:spPr>
          <a:xfrm>
            <a:off x="436027" y="1812002"/>
            <a:ext cx="17470976" cy="87033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1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514338" indent="0">
              <a:buNone/>
              <a:defRPr sz="2250" b="1"/>
            </a:lvl2pPr>
            <a:lvl3pPr marL="1028676" indent="0">
              <a:buNone/>
              <a:defRPr sz="2025" b="1"/>
            </a:lvl3pPr>
            <a:lvl4pPr marL="1543013" indent="0">
              <a:buNone/>
              <a:defRPr sz="1800" b="1"/>
            </a:lvl4pPr>
            <a:lvl5pPr marL="2057349" indent="0">
              <a:buNone/>
              <a:defRPr sz="1800" b="1"/>
            </a:lvl5pPr>
            <a:lvl6pPr marL="2571686" indent="0">
              <a:buNone/>
              <a:defRPr sz="1800" b="1"/>
            </a:lvl6pPr>
            <a:lvl7pPr marL="3086024" indent="0">
              <a:buNone/>
              <a:defRPr sz="1800" b="1"/>
            </a:lvl7pPr>
            <a:lvl8pPr marL="3600360" indent="0">
              <a:buNone/>
              <a:defRPr sz="1800" b="1"/>
            </a:lvl8pPr>
            <a:lvl9pPr marL="4114698" indent="0">
              <a:buNone/>
              <a:defRPr sz="18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6783051" y="9625013"/>
            <a:ext cx="1300163" cy="369095"/>
          </a:xfrm>
          <a:prstGeom prst="rect">
            <a:avLst/>
          </a:prstGeom>
        </p:spPr>
        <p:txBody>
          <a:bodyPr/>
          <a:lstStyle>
            <a:lvl1pPr>
              <a:defRPr>
                <a:latin typeface="Rage Italic" panose="03070502040507070304" pitchFamily="66" charset="0"/>
              </a:defRPr>
            </a:lvl1pPr>
          </a:lstStyle>
          <a:p>
            <a:pPr>
              <a:defRPr/>
            </a:pPr>
            <a:fld id="{A6138210-E7D0-422B-B0CB-C5FD071A12E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674145" y="9727407"/>
            <a:ext cx="14578013" cy="254793"/>
          </a:xfrm>
          <a:prstGeom prst="rect">
            <a:avLst/>
          </a:prstGeom>
        </p:spPr>
        <p:txBody>
          <a:bodyPr/>
          <a:lstStyle>
            <a:lvl1pPr>
              <a:defRPr sz="750"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/>
              <a:t>ТОЛЬКО ДЛЯ ВНУТРЕННЕГО ИСПОЛЬЗОВАНИЯ</a:t>
            </a:r>
            <a:r>
              <a:rPr lang="en-US"/>
              <a:t>. </a:t>
            </a:r>
            <a:r>
              <a:rPr lang="ru-RU"/>
              <a:t>Этот документ не подлежит распространению за пределы компании АстраЗенека.</a:t>
            </a:r>
          </a:p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334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D6D7F-069D-4E8B-A177-DF42A41AB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8AA8D5-D73D-47AC-A93E-3DEA8E0BE7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38FBCC-9627-4BBD-BFBD-4A4B1ADCC0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6BF6C1-9CAF-44A0-A8BB-305E3BE0CFDA}" type="datetimeFigureOut">
              <a:rPr lang="en-US" smtClean="0"/>
              <a:t>9/20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1AF678-F6AC-4859-A75C-32B849C8D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B28C57-B6B6-4FDE-B8C4-A960AD9D2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CD14FB-46F8-436D-8F20-F81C6CFB8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959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ubTitle"/>
          </p:nvPr>
        </p:nvSpPr>
        <p:spPr>
          <a:xfrm>
            <a:off x="914400" y="2406960"/>
            <a:ext cx="16458480" cy="596556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1645848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803160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 type="body"/>
          </p:nvPr>
        </p:nvSpPr>
        <p:spPr>
          <a:xfrm>
            <a:off x="9348120" y="2406960"/>
            <a:ext cx="803160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subTitle"/>
          </p:nvPr>
        </p:nvSpPr>
        <p:spPr>
          <a:xfrm>
            <a:off x="623520" y="1489320"/>
            <a:ext cx="17040240" cy="1902492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 type="body"/>
          </p:nvPr>
        </p:nvSpPr>
        <p:spPr>
          <a:xfrm>
            <a:off x="9348120" y="2406960"/>
            <a:ext cx="803160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14" name="PlaceHolder 4"/>
          <p:cNvSpPr>
            <a:spLocks noGrp="1"/>
          </p:cNvSpPr>
          <p:nvPr>
            <p:ph type="body"/>
          </p:nvPr>
        </p:nvSpPr>
        <p:spPr>
          <a:xfrm>
            <a:off x="914400" y="552312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803160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934812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18" name="PlaceHolder 4"/>
          <p:cNvSpPr>
            <a:spLocks noGrp="1"/>
          </p:cNvSpPr>
          <p:nvPr>
            <p:ph type="body"/>
          </p:nvPr>
        </p:nvSpPr>
        <p:spPr>
          <a:xfrm>
            <a:off x="9348120" y="552312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algn="ctr"/>
            <a:endParaRPr lang="ru-RU" sz="4400" b="0" strike="noStrike" spc="-1">
              <a:latin typeface="Arial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 type="body"/>
          </p:nvPr>
        </p:nvSpPr>
        <p:spPr>
          <a:xfrm>
            <a:off x="9348120" y="2406960"/>
            <a:ext cx="803160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  <p:sp>
        <p:nvSpPr>
          <p:cNvPr id="22" name="PlaceHolder 4"/>
          <p:cNvSpPr>
            <a:spLocks noGrp="1"/>
          </p:cNvSpPr>
          <p:nvPr>
            <p:ph type="body"/>
          </p:nvPr>
        </p:nvSpPr>
        <p:spPr>
          <a:xfrm>
            <a:off x="914400" y="5523120"/>
            <a:ext cx="16458480" cy="28454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E7B76EFC-86F2-4A1C-86D7-A1CEAA3368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56990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7" imgW="415" imgH="416" progId="TCLayout.ActiveDocument.1">
                  <p:embed/>
                </p:oleObj>
              </mc:Choice>
              <mc:Fallback>
                <p:oleObj name="Слайд think-cell" r:id="rId1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23520" y="1489320"/>
            <a:ext cx="17040240" cy="4104000"/>
          </a:xfrm>
          <a:prstGeom prst="rect">
            <a:avLst/>
          </a:prstGeom>
        </p:spPr>
        <p:txBody>
          <a:bodyPr vert="horz" lIns="0" tIns="0" rIns="0" bIns="0" anchor="ctr">
            <a:noAutofit/>
          </a:bodyPr>
          <a:lstStyle/>
          <a:p>
            <a:pPr algn="ctr"/>
            <a:r>
              <a:rPr lang="ru-RU" sz="1800" b="0" strike="noStrike" spc="-1"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body"/>
          </p:nvPr>
        </p:nvSpPr>
        <p:spPr>
          <a:xfrm>
            <a:off x="914400" y="2406960"/>
            <a:ext cx="16458480" cy="596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 algn="ctr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latin typeface="Arial"/>
              </a:rPr>
              <a:t>Для правки структуры щёлкните мышью</a:t>
            </a:r>
          </a:p>
          <a:p>
            <a:pPr marL="864000" lvl="1" indent="-324000" algn="ctr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latin typeface="Arial"/>
              </a:rPr>
              <a:t>Второй уровень структуры</a:t>
            </a:r>
          </a:p>
          <a:p>
            <a:pPr marL="1296000" lvl="2" indent="-288000" algn="ctr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latin typeface="Arial"/>
              </a:rPr>
              <a:t>Третий уровень структуры</a:t>
            </a:r>
          </a:p>
          <a:p>
            <a:pPr marL="1728000" lvl="3" indent="-216000" algn="ctr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latin typeface="Arial"/>
              </a:rPr>
              <a:t>Четвёртый уровень структуры</a:t>
            </a:r>
          </a:p>
          <a:p>
            <a:pPr marL="2160000" lvl="4" indent="-216000" algn="ctr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latin typeface="Arial"/>
              </a:rPr>
              <a:t>Пятый уровень структуры</a:t>
            </a:r>
          </a:p>
          <a:p>
            <a:pPr marL="2592000" lvl="5" indent="-216000" algn="ctr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latin typeface="Arial"/>
              </a:rPr>
              <a:t>Шестой уровень структуры</a:t>
            </a:r>
          </a:p>
          <a:p>
            <a:pPr marL="3024000" lvl="6" indent="-216000" algn="ctr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9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e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11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e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hyperlink" Target="https://internet.garant.ru/#/document/5756200/entry/1111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5181709/entry/0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et.garant.ru/#/document/101268/entry/0" TargetMode="External"/><Relationship Id="rId3" Type="http://schemas.openxmlformats.org/officeDocument/2006/relationships/image" Target="../media/image2.png"/><Relationship Id="rId7" Type="http://schemas.openxmlformats.org/officeDocument/2006/relationships/hyperlink" Target="https://internet.garant.ru/#/document/180687/entry/20000618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hyperlink" Target="https://internet.garant.ru/#/document/101268/entry/1000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et.garant.ru/#/document/180687/entry/2000061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internet.garant.ru/#/document/12191967/entry/8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12191967/entry/4" TargetMode="External"/><Relationship Id="rId5" Type="http://schemas.openxmlformats.org/officeDocument/2006/relationships/image" Target="../media/image5.png"/><Relationship Id="rId10" Type="http://schemas.openxmlformats.org/officeDocument/2006/relationships/hyperlink" Target="https://internet.garant.ru/#/document/12191967/entry/8031" TargetMode="External"/><Relationship Id="rId4" Type="http://schemas.openxmlformats.org/officeDocument/2006/relationships/image" Target="../media/image4.png"/><Relationship Id="rId9" Type="http://schemas.openxmlformats.org/officeDocument/2006/relationships/hyperlink" Target="https://internet.garant.ru/#/document/72861778/entry/1000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1.em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e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internet.garant.ru/#/document/72136974/entry/2102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internet.garant.ru/#/document/5756200/entry/1111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et.garant.ru/#/document/5181709/entry/0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internet.garant.ru/#/document/57411597/entry/0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5755550/entry/0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et.garant.ru/#/document/70305660/entry/0" TargetMode="External"/><Relationship Id="rId3" Type="http://schemas.openxmlformats.org/officeDocument/2006/relationships/image" Target="../media/image3.png"/><Relationship Id="rId7" Type="http://schemas.openxmlformats.org/officeDocument/2006/relationships/hyperlink" Target="https://internet.garant.ru/#/document/70305660/entry/1000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316386840/entry/0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316386840/entry/0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hyperlink" Target="https://internet.garant.ru/services/arbitr/link/310602015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internet.garant.ru/#/document/316386840/entry/0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emf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>
          <a:blip r:embed="rId5"/>
          <a:stretch/>
        </p:blipFill>
        <p:spPr>
          <a:xfrm>
            <a:off x="1" y="10080"/>
            <a:ext cx="18288000" cy="10286640"/>
          </a:xfrm>
          <a:prstGeom prst="rect">
            <a:avLst/>
          </a:prstGeom>
          <a:ln w="0">
            <a:noFill/>
          </a:ln>
        </p:spPr>
      </p:pic>
      <p:sp>
        <p:nvSpPr>
          <p:cNvPr id="42" name="CustomShape 2"/>
          <p:cNvSpPr/>
          <p:nvPr/>
        </p:nvSpPr>
        <p:spPr>
          <a:xfrm>
            <a:off x="510675" y="3314160"/>
            <a:ext cx="17479440" cy="3071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8000"/>
              </a:lnSpc>
              <a:spcAft>
                <a:spcPts val="799"/>
              </a:spcAft>
            </a:pPr>
            <a:endParaRPr lang="ru-RU" sz="3600" b="1" strike="noStrike" spc="-1" dirty="0">
              <a:latin typeface="Arial"/>
            </a:endParaRPr>
          </a:p>
        </p:txBody>
      </p:sp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948288" y="1430022"/>
            <a:ext cx="2195680" cy="1842799"/>
          </a:xfrm>
          <a:prstGeom prst="rect">
            <a:avLst/>
          </a:prstGeom>
          <a:ln w="0">
            <a:noFill/>
          </a:ln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5004720" y="3528940"/>
            <a:ext cx="7904163" cy="26416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ru-RU" altLang="ru-RU" sz="1800" b="1" dirty="0">
                <a:solidFill>
                  <a:srgbClr val="C00000"/>
                </a:solidFill>
                <a:latin typeface="Bookman Old Style" panose="02050604050505020204" pitchFamily="18" charset="0"/>
              </a:rPr>
            </a:br>
            <a:br>
              <a:rPr lang="ru-RU" altLang="ru-RU" sz="20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br>
              <a:rPr lang="ru-RU" altLang="ru-RU" sz="24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endParaRPr lang="en-US" altLang="en-US" sz="20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1369" y="3525852"/>
            <a:ext cx="15312980" cy="1150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000" b="1" dirty="0">
              <a:solidFill>
                <a:srgbClr val="0070C0"/>
              </a:solidFill>
              <a:latin typeface="Book Antiqua" panose="020406020503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000" b="1" dirty="0">
                <a:solidFill>
                  <a:srgbClr val="0070C0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460642" y="6317397"/>
            <a:ext cx="10458893" cy="2750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b="1" dirty="0">
                <a:solidFill>
                  <a:srgbClr val="10253F"/>
                </a:solidFill>
                <a:latin typeface="Bookman Old Style" panose="02050604050505020204" pitchFamily="18" charset="0"/>
              </a:rPr>
              <a:t>ПАВЛОВА ЮЛИЯ ВЛАДИМИРОВНА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кандидат юридических наук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доцент кафедры медицинского права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Первого МГМУ им. И.М. Сеченова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Генеральный директор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Национального института медицинского права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Руководитель Комитета по праву Ассоциации онкологов России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ru-RU" altLang="ru-RU" sz="2000" i="1" dirty="0">
                <a:solidFill>
                  <a:srgbClr val="10253F"/>
                </a:solidFill>
                <a:latin typeface="Bookman Old Style" panose="02050604050505020204" pitchFamily="18" charset="0"/>
              </a:rPr>
              <a:t>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endParaRPr kumimoji="1" lang="ru-RU" altLang="ru-RU" sz="2000" i="1" dirty="0">
              <a:solidFill>
                <a:srgbClr val="10253F"/>
              </a:solidFill>
              <a:latin typeface="Book Antiqua" panose="02040602050305030304" pitchFamily="18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034697" y="1379688"/>
            <a:ext cx="4468969" cy="875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en-US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www.med-law.ru</a:t>
            </a:r>
            <a:r>
              <a:rPr kumimoji="1" lang="ru-RU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endParaRPr kumimoji="1" lang="ru-RU" altLang="ru-RU" sz="2400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C61A40B-CAF7-D942-8673-83FE31B9FAD5}"/>
              </a:ext>
            </a:extLst>
          </p:cNvPr>
          <p:cNvSpPr/>
          <p:nvPr/>
        </p:nvSpPr>
        <p:spPr>
          <a:xfrm>
            <a:off x="1081369" y="4020297"/>
            <a:ext cx="154553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3200" b="1" dirty="0">
                <a:solidFill>
                  <a:srgbClr val="0070C0"/>
                </a:solidFill>
                <a:latin typeface="Bookman Old Style" panose="02050604050505020204" pitchFamily="18" charset="0"/>
              </a:rPr>
              <a:t>ОРГАНИЗАЦИЯ МЕДИЦИНСКОЙ ПОМОЩИ </a:t>
            </a:r>
          </a:p>
          <a:p>
            <a:pPr indent="450215" algn="ctr"/>
            <a:r>
              <a:rPr lang="ru-RU" sz="3200" dirty="0">
                <a:solidFill>
                  <a:srgbClr val="0070C0"/>
                </a:solidFill>
                <a:latin typeface="Bookman Old Style" panose="02050604050505020204" pitchFamily="18" charset="0"/>
              </a:rPr>
              <a:t>ПАЦИЕНТАМ С СЕРДЕЧНО-СОСУДИСТЫМИ ЗАБОЛЕВАНИЯМИ</a:t>
            </a:r>
            <a:endParaRPr lang="ru-RU" sz="3200" dirty="0">
              <a:solidFill>
                <a:srgbClr val="0070C0"/>
              </a:solidFill>
              <a:latin typeface="Bookman Old Style" panose="02050604050505020204" pitchFamily="18" charset="0"/>
              <a:ea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7371" y="1890794"/>
            <a:ext cx="15482807" cy="4933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Организация оказания медицинской помощи больных с сердечно-сосудистыми заболеваниями (региональные акты)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ECEFE77D-D384-C882-8106-AE8915F64F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08429" y="2960176"/>
            <a:ext cx="5963345" cy="6658144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id="{306D90A8-FEFC-4274-48A6-D025A786DB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10694" y="2960177"/>
            <a:ext cx="5663501" cy="6658144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12705852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7371" y="1870164"/>
            <a:ext cx="15482807" cy="495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Организация оказания медицинской помощи больных с сердечно-сосудистыми заболеваниями (региональные акты)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</p:txBody>
      </p:sp>
      <p:pic>
        <p:nvPicPr>
          <p:cNvPr id="4" name="Picture 8">
            <a:extLst>
              <a:ext uri="{FF2B5EF4-FFF2-40B4-BE49-F238E27FC236}">
                <a16:creationId xmlns:a16="http://schemas.microsoft.com/office/drawing/2014/main" id="{CC81941C-9465-F83E-5603-EAA3316B987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26911" y="3170060"/>
            <a:ext cx="4620536" cy="5390542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F4977692-D88E-7DDF-0928-33B3737367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25256" y="3034042"/>
            <a:ext cx="5186413" cy="5390542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4958760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8FB3DD-7B24-48F2-8C1A-F7DD088D2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7301" y="502964"/>
            <a:ext cx="15773399" cy="1345716"/>
          </a:xfrm>
        </p:spPr>
        <p:txBody>
          <a:bodyPr/>
          <a:lstStyle/>
          <a:p>
            <a:r>
              <a:rPr lang="ru-RU" sz="2000" dirty="0">
                <a:solidFill>
                  <a:srgbClr val="C00000"/>
                </a:solidFill>
                <a:latin typeface="Book Antiqua" panose="02040602050305030304" pitchFamily="18" charset="0"/>
                <a:ea typeface="Calibri" panose="020F0502020204030204" pitchFamily="34" charset="0"/>
              </a:rPr>
              <a:t>Приказ МЗ РФ от 15.03.2022 №168н </a:t>
            </a:r>
            <a:r>
              <a:rPr lang="ru-RU" sz="2000" dirty="0">
                <a:latin typeface="Book Antiqua" panose="02040602050305030304" pitchFamily="18" charset="0"/>
                <a:ea typeface="Calibri" panose="020F0502020204030204" pitchFamily="34" charset="0"/>
              </a:rPr>
              <a:t>«</a:t>
            </a:r>
            <a:r>
              <a:rPr lang="ru-RU" sz="2000" b="1" dirty="0">
                <a:latin typeface="Book Antiqua" panose="02040602050305030304" pitchFamily="18" charset="0"/>
                <a:ea typeface="Calibri" panose="020F0502020204030204" pitchFamily="34" charset="0"/>
              </a:rPr>
              <a:t>Об утверждении порядка проведения диспансерного наблюдения за взрослыми»</a:t>
            </a:r>
            <a:endParaRPr lang="en-US" sz="2000" b="1" dirty="0">
              <a:latin typeface="Book Antiqua" panose="02040602050305030304" pitchFamily="18" charset="0"/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AE7D72C-BB06-465B-BCC3-58AACC1714C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57302" y="1848680"/>
            <a:ext cx="4818034" cy="741676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A05F1FF1-80E4-46C6-90F5-F82C4FBA4FA6}"/>
              </a:ext>
            </a:extLst>
          </p:cNvPr>
          <p:cNvSpPr/>
          <p:nvPr/>
        </p:nvSpPr>
        <p:spPr>
          <a:xfrm>
            <a:off x="7330698" y="2061275"/>
            <a:ext cx="9916979" cy="772276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514350" algn="just">
              <a:buAutoNum type="arabicPeriod"/>
            </a:pPr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Д - наблюдению подлежат лица, страдающие отдельными хроническими неинфекционными и инфекционными заболеваниями или имеющие высокий риск их развития, а также лица, находящиеся в восстановительном периоде после острых заболеваний</a:t>
            </a:r>
            <a:endParaRPr lang="ru-RU" dirty="0">
              <a:solidFill>
                <a:schemeClr val="tx1"/>
              </a:solidFill>
              <a:latin typeface="Book Antiqua" panose="02040602050305030304" pitchFamily="18" charset="0"/>
            </a:endParaRPr>
          </a:p>
          <a:p>
            <a:pPr indent="-342900" algn="just">
              <a:buAutoNum type="arabicPeriod" startAt="2"/>
            </a:pPr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В рамках диспансерного наблюдения </a:t>
            </a:r>
            <a:r>
              <a:rPr lang="ru-RU" b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(при проведении первого в текущем году диспансерного приема (осмотра, консультации) </a:t>
            </a:r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организуется проведение профилактического медицинского осмотр.</a:t>
            </a:r>
          </a:p>
          <a:p>
            <a:pPr algn="just"/>
            <a:r>
              <a:rPr lang="ru-RU" b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3. Д-наблюдение устанавливается в течение 3-х рабочих дней после: </a:t>
            </a:r>
          </a:p>
          <a:p>
            <a:pPr marL="285750" indent="-285750" algn="just">
              <a:buFontTx/>
              <a:buChar char="-"/>
            </a:pPr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установления диагноза при оказании медицинской помощи в амбулаторных условиях; </a:t>
            </a:r>
          </a:p>
          <a:p>
            <a:pPr marL="285750" indent="-285750" algn="just">
              <a:buFontTx/>
              <a:buChar char="-"/>
            </a:pPr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получения выписного эпикриза из медицинской карты стационарного больного по результатам оказания медицинской помощи в стационарных условиях. 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4. </a:t>
            </a:r>
            <a:r>
              <a:rPr lang="ru-RU" b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Приказом Минздрава России от 15.03.2022 N 168н установлен 3 Перечня заболеваний/состояний, </a:t>
            </a:r>
            <a:r>
              <a:rPr lang="ru-RU" b="1" i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17</a:t>
            </a:r>
            <a:r>
              <a:rPr lang="en-US" b="1" i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3</a:t>
            </a:r>
            <a:r>
              <a:rPr lang="ru-RU" b="1" i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н сдержал единый перечень: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- Перечень хронических заболеваний, функциональных расстройств, иных состояний, при наличии которых устанавливается диспансерное наблюдение за взрослым населением врачом-терапевтом, 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- Перечень хронических заболеваний, функциональных расстройств, иных состояний, при наличии которых устанавливается диспансерное наблюдение за взрослым населением врачом-кардиологом</a:t>
            </a:r>
          </a:p>
          <a:p>
            <a:pPr algn="just"/>
            <a:r>
              <a:rPr lang="ru-RU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- Перечень хронических заболеваний, функциональных расстройств, иных состояний, которые предшествуют развитию злокачественных новообразований, при наличии которых устанавливается диспансерное наблюдение за взрослым населением врачами-специалистами, включая длительность и минимальную периодичность диспансерного наблюдения.</a:t>
            </a:r>
          </a:p>
          <a:p>
            <a:pPr algn="just"/>
            <a:r>
              <a:rPr lang="ru-RU" b="1" i="1" dirty="0">
                <a:solidFill>
                  <a:schemeClr val="tx1"/>
                </a:solidFill>
                <a:latin typeface="Book Antiqua" panose="02040602050305030304" pitchFamily="18" charset="0"/>
                <a:ea typeface="Times New Roman" charset="0"/>
                <a:cs typeface="Times New Roman" charset="0"/>
              </a:rPr>
              <a:t>Нововведение! В случае проведения диспансерного наблюдения за пациентами с несколькими заболеваниями, перечень контролируемых показателей состояния здоровья в рамках проведения диспансерного наблюдения должен включать все параметры, соответствующие каждому заболеванию. </a:t>
            </a:r>
          </a:p>
          <a:p>
            <a:pPr algn="just"/>
            <a:endParaRPr lang="ru-RU" dirty="0">
              <a:solidFill>
                <a:schemeClr val="tx1"/>
              </a:solidFill>
              <a:latin typeface="Book Antiqua" panose="02040602050305030304" pitchFamily="18" charset="0"/>
              <a:ea typeface="Times New Roman" charset="0"/>
              <a:cs typeface="Times New Roman" charset="0"/>
            </a:endParaRPr>
          </a:p>
          <a:p>
            <a:pPr marL="342900" indent="-342900" algn="ctr">
              <a:buAutoNum type="arabicPeriod" startAt="2"/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06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F3B8F7-DFF8-4490-BB5D-7734D2CA0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995" y="7015"/>
            <a:ext cx="17040240" cy="2131751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Book Antiqua" panose="02040602050305030304" pitchFamily="18" charset="0"/>
                <a:ea typeface="Calibri" panose="020F0502020204030204" pitchFamily="34" charset="0"/>
              </a:rPr>
              <a:t>Приказ МЗ РФ от 15.03.2022 №168н «Об утверждении порядка проведения диспансерного наблюдения за взрослыми»</a:t>
            </a:r>
            <a:endParaRPr lang="en-US" sz="2400" dirty="0">
              <a:latin typeface="Book Antiqua" panose="02040602050305030304" pitchFamily="18" charset="0"/>
            </a:endParaRPr>
          </a:p>
        </p:txBody>
      </p:sp>
      <p:pic>
        <p:nvPicPr>
          <p:cNvPr id="4" name="Объект 3">
            <a:extLst>
              <a:ext uri="{FF2B5EF4-FFF2-40B4-BE49-F238E27FC236}">
                <a16:creationId xmlns:a16="http://schemas.microsoft.com/office/drawing/2014/main" id="{19482A8D-6778-469D-8CA1-56CFECE9A5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934" y="2138766"/>
            <a:ext cx="9044609" cy="2263914"/>
          </a:xfrm>
          <a:prstGeom prst="rect">
            <a:avLst/>
          </a:prstGeom>
        </p:spPr>
      </p:pic>
      <p:pic>
        <p:nvPicPr>
          <p:cNvPr id="5" name="Рисунок 7">
            <a:extLst>
              <a:ext uri="{FF2B5EF4-FFF2-40B4-BE49-F238E27FC236}">
                <a16:creationId xmlns:a16="http://schemas.microsoft.com/office/drawing/2014/main" id="{C3E21AEE-4A40-452C-BE04-78DD692EB5C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6934" y="4609907"/>
            <a:ext cx="9163880" cy="5203317"/>
          </a:xfrm>
          <a:prstGeom prst="rect">
            <a:avLst/>
          </a:prstGeom>
        </p:spPr>
      </p:pic>
      <p:pic>
        <p:nvPicPr>
          <p:cNvPr id="6" name="Рисунок 2">
            <a:extLst>
              <a:ext uri="{FF2B5EF4-FFF2-40B4-BE49-F238E27FC236}">
                <a16:creationId xmlns:a16="http://schemas.microsoft.com/office/drawing/2014/main" id="{E2C317D4-FA14-4303-AB38-0F01E9FE2E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717" y="2655956"/>
            <a:ext cx="7628283" cy="1581150"/>
          </a:xfrm>
          <a:prstGeom prst="rect">
            <a:avLst/>
          </a:prstGeom>
        </p:spPr>
      </p:pic>
      <p:pic>
        <p:nvPicPr>
          <p:cNvPr id="7" name="Рисунок 1">
            <a:extLst>
              <a:ext uri="{FF2B5EF4-FFF2-40B4-BE49-F238E27FC236}">
                <a16:creationId xmlns:a16="http://schemas.microsoft.com/office/drawing/2014/main" id="{42F40DEA-5108-4F60-A0E1-E6C482427AD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717" y="5039796"/>
            <a:ext cx="7628283" cy="1796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2295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0"/>
            <a:ext cx="18288000" cy="10281960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7071931" y="1048164"/>
            <a:ext cx="8590112" cy="720738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ЛЕКАРСТВЕННОЕ ОБЕСПЕЧЕНИЕ В СТАЦИОНАРЕ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7BA69D0-B603-FD49-9FAA-C1E5D86CC0C8}"/>
              </a:ext>
            </a:extLst>
          </p:cNvPr>
          <p:cNvSpPr/>
          <p:nvPr/>
        </p:nvSpPr>
        <p:spPr>
          <a:xfrm>
            <a:off x="2014799" y="8380800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https://</a:t>
            </a:r>
            <a:r>
              <a:rPr lang="en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  <a:endParaRPr lang="ru-RU" dirty="0"/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C57BC7CF-6EEC-E37C-7158-8AA04C699A85}"/>
              </a:ext>
            </a:extLst>
          </p:cNvPr>
          <p:cNvGraphicFramePr>
            <a:graphicFrameLocks noGrp="1"/>
          </p:cNvGraphicFramePr>
          <p:nvPr/>
        </p:nvGraphicFramePr>
        <p:xfrm>
          <a:off x="734786" y="2411337"/>
          <a:ext cx="17013956" cy="5733596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6760028">
                  <a:extLst>
                    <a:ext uri="{9D8B030D-6E8A-4147-A177-3AD203B41FA5}">
                      <a16:colId xmlns:a16="http://schemas.microsoft.com/office/drawing/2014/main" val="1091379760"/>
                    </a:ext>
                  </a:extLst>
                </a:gridCol>
                <a:gridCol w="4784272">
                  <a:extLst>
                    <a:ext uri="{9D8B030D-6E8A-4147-A177-3AD203B41FA5}">
                      <a16:colId xmlns:a16="http://schemas.microsoft.com/office/drawing/2014/main" val="2795933132"/>
                    </a:ext>
                  </a:extLst>
                </a:gridCol>
                <a:gridCol w="5469656">
                  <a:extLst>
                    <a:ext uri="{9D8B030D-6E8A-4147-A177-3AD203B41FA5}">
                      <a16:colId xmlns:a16="http://schemas.microsoft.com/office/drawing/2014/main" val="1726593545"/>
                    </a:ext>
                  </a:extLst>
                </a:gridCol>
              </a:tblGrid>
              <a:tr h="2417105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Лекарственное обеспечение в стационаре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000000"/>
                        </a:buClr>
                        <a:buSzPts val="1800"/>
                        <a:buNone/>
                      </a:pPr>
                      <a:r>
                        <a:rPr lang="ru-RU" alt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ФЗ от 21 ноября 2011 г. </a:t>
                      </a:r>
                      <a:r>
                        <a:rPr lang="ru-RU" altLang="ru-RU" sz="2000" b="1" dirty="0" err="1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N</a:t>
                      </a:r>
                      <a:r>
                        <a:rPr lang="ru-RU" alt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 323-ФЗ "Об основах охраны здоровья граждан в Российской Федерации" </a:t>
                      </a:r>
                      <a:r>
                        <a:rPr lang="ru-RU" altLang="ru-RU" sz="2000" b="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(ст. 80 пп.3 п.1 ) </a:t>
                      </a:r>
                    </a:p>
                    <a:p>
                      <a:pPr algn="l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000000"/>
                        </a:buClr>
                        <a:buSzPts val="1800"/>
                        <a:buNone/>
                      </a:pPr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становление Правительства РФ от 28 декабря 2021 г. </a:t>
                      </a:r>
                      <a:r>
                        <a:rPr lang="en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2505 </a:t>
                      </a:r>
                      <a:r>
                        <a:rPr lang="en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"</a:t>
                      </a:r>
                      <a:r>
                        <a:rPr lang="ru-RU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О Программе государственных гарантий бесплатного оказания гражданам медицинской помощи на 2022 год и на плановый период 2023 и 2024 годов"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053854"/>
                  </a:ext>
                </a:extLst>
              </a:tr>
              <a:tr h="3316491">
                <a:tc>
                  <a:txBody>
                    <a:bodyPr/>
                    <a:lstStyle/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аждый имеет право на медицинскую помощь в гарантированном объеме, оказываемую </a:t>
                      </a:r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без взимания платы</a:t>
                      </a:r>
                      <a:r>
                        <a:rPr lang="ru-RU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 в соответствии с программой государственных гарантий бесплатного оказания гражданам медицинской помощи</a:t>
                      </a:r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2000" b="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  <a:cs typeface="Calibri" panose="020F0502020204030204" pitchFamily="34" charset="0"/>
                          <a:sym typeface="Calibri" panose="020F0502020204030204" pitchFamily="34" charset="0"/>
                        </a:rPr>
                        <a:t>Назначение и применение лекарственных препаратов, включенных в перечень жизненно необходимых и важнейших лекарственных препаратов ……на основе клинических рекомендаций и с учетом стандартов медицинской помощи</a:t>
                      </a: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 формировании территориальной программы государственных гарантий учитываются:</a:t>
                      </a:r>
                    </a:p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рядки оказания медицинской помощи, стандарты медицинской помощи и клинические рекомендации</a:t>
                      </a: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5223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02763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0"/>
            <a:ext cx="18288000" cy="10281960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7071931" y="1048164"/>
            <a:ext cx="8590112" cy="845950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ЛЕКАРСТВЕННОЕ ОБЕСПЕЧЕНИЕ НА АМБУЛАТОРНОМ ЭТАПЕ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A7BA69D0-B603-FD49-9FAA-C1E5D86CC0C8}"/>
              </a:ext>
            </a:extLst>
          </p:cNvPr>
          <p:cNvSpPr/>
          <p:nvPr/>
        </p:nvSpPr>
        <p:spPr>
          <a:xfrm>
            <a:off x="2014799" y="8380800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https://</a:t>
            </a:r>
            <a:r>
              <a:rPr lang="en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  <a:endParaRPr lang="ru-RU" dirty="0"/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id="{C57BC7CF-6EEC-E37C-7158-8AA04C699A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951538"/>
              </p:ext>
            </p:extLst>
          </p:nvPr>
        </p:nvGraphicFramePr>
        <p:xfrm>
          <a:off x="1292347" y="2432957"/>
          <a:ext cx="15680266" cy="702999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7840133">
                  <a:extLst>
                    <a:ext uri="{9D8B030D-6E8A-4147-A177-3AD203B41FA5}">
                      <a16:colId xmlns:a16="http://schemas.microsoft.com/office/drawing/2014/main" val="1091379760"/>
                    </a:ext>
                  </a:extLst>
                </a:gridCol>
                <a:gridCol w="7840133">
                  <a:extLst>
                    <a:ext uri="{9D8B030D-6E8A-4147-A177-3AD203B41FA5}">
                      <a16:colId xmlns:a16="http://schemas.microsoft.com/office/drawing/2014/main" val="2795933132"/>
                    </a:ext>
                  </a:extLst>
                </a:gridCol>
              </a:tblGrid>
              <a:tr h="751114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Федеральные льготни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Региональные льготники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2053854"/>
                  </a:ext>
                </a:extLst>
              </a:tr>
              <a:tr h="1266870">
                <a:tc>
                  <a:txBody>
                    <a:bodyPr/>
                    <a:lstStyle/>
                    <a:p>
                      <a:pPr algn="l"/>
                      <a:r>
                        <a:rPr lang="ru-RU" altLang="ru-RU" sz="2000" b="1" dirty="0">
                          <a:latin typeface="Book Antiqua" panose="02040602050305030304" pitchFamily="18" charset="0"/>
                        </a:rPr>
                        <a:t>Федеральный закон от 17.07.1999 </a:t>
                      </a:r>
                      <a:r>
                        <a:rPr lang="ru-RU" altLang="ru-RU" sz="2000" b="1" dirty="0" err="1">
                          <a:latin typeface="Book Antiqua" panose="02040602050305030304" pitchFamily="18" charset="0"/>
                        </a:rPr>
                        <a:t>N</a:t>
                      </a:r>
                      <a:r>
                        <a:rPr lang="ru-RU" altLang="ru-RU" sz="2000" b="1" dirty="0">
                          <a:latin typeface="Book Antiqua" panose="02040602050305030304" pitchFamily="18" charset="0"/>
                        </a:rPr>
                        <a:t> 178-ФЗ </a:t>
                      </a:r>
                    </a:p>
                    <a:p>
                      <a:pPr algn="l"/>
                      <a:r>
                        <a:rPr lang="ru-RU" altLang="ru-RU" sz="2000" b="0" dirty="0">
                          <a:latin typeface="Book Antiqua" panose="02040602050305030304" pitchFamily="18" charset="0"/>
                        </a:rPr>
                        <a:t>"О государственной социальной помощи" </a:t>
                      </a: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Постановление Правительства РФ от 30 июля 1994 г. </a:t>
                      </a:r>
                      <a:r>
                        <a:rPr lang="ru-RU" sz="2000" b="1" dirty="0" err="1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N</a:t>
                      </a:r>
                      <a:r>
                        <a:rPr lang="ru-RU" sz="2000" b="1" dirty="0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 890 </a:t>
                      </a:r>
                      <a:r>
                        <a:rPr lang="ru-RU" sz="2000" b="0" dirty="0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Перечень групп населения и категорий заболеваний, при амбулаторном лечении которых лекарственные средства и изделия медицинского назначения отпускаются по рецептам врачей бесплатно (</a:t>
                      </a:r>
                      <a:r>
                        <a:rPr lang="ru-RU" sz="2000" dirty="0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Например, </a:t>
                      </a:r>
                      <a:r>
                        <a:rPr lang="ru-RU" sz="2000" b="1" dirty="0">
                          <a:solidFill>
                            <a:schemeClr val="dk1"/>
                          </a:solidFill>
                          <a:latin typeface="Book Antiqua" panose="02040602050305030304" pitchFamily="18" charset="0"/>
                        </a:rPr>
                        <a:t>и</a:t>
                      </a:r>
                      <a:r>
                        <a:rPr lang="ru-RU" sz="2000" b="1" dirty="0">
                          <a:latin typeface="Book Antiqua" panose="02040602050305030304" pitchFamily="18" charset="0"/>
                        </a:rPr>
                        <a:t>нфаркт миокарда (первые шесть месяцев)</a:t>
                      </a:r>
                      <a:r>
                        <a:rPr lang="ru-RU" sz="2000" dirty="0">
                          <a:latin typeface="Book Antiqua" panose="02040602050305030304" pitchFamily="18" charset="0"/>
                        </a:rPr>
                        <a:t>; лекарственные средства, необходимые для лечения данного заболевания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522396"/>
                  </a:ext>
                </a:extLst>
              </a:tr>
              <a:tr h="2495282">
                <a:tc>
                  <a:txBody>
                    <a:bodyPr/>
                    <a:lstStyle/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Обеспечение в соответствии со </a:t>
                      </a:r>
                      <a:r>
                        <a:rPr lang="ru-RU" sz="2000" b="0" dirty="0">
                          <a:latin typeface="Book Antiqua" panose="02040602050305030304" pitchFamily="18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стандартами</a:t>
                      </a: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 медицинской помощи необходимыми лекарственными препаратами для медицинского применения в объеме не менее, чем это предусмотрено </a:t>
                      </a:r>
                      <a:r>
                        <a:rPr lang="ru-RU" sz="2000" b="0" dirty="0">
                          <a:latin typeface="Book Antiqua" panose="02040602050305030304" pitchFamily="18" charset="0"/>
                          <a:hlinkClick r:id="rId7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перечнем</a:t>
                      </a: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 жизненно необходимых и важнейших лекарственных препаратов</a:t>
                      </a: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endParaRPr lang="ru-RU" sz="2000" b="0" dirty="0">
                        <a:latin typeface="Book Antiqua" panose="02040602050305030304" pitchFamily="18" charset="0"/>
                      </a:endParaRP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Статья 6.1. Право на получение государственной социальной помощи в виде набора социальных услуг</a:t>
                      </a: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endParaRPr lang="ru-RU" sz="2000" b="0" dirty="0">
                        <a:latin typeface="Book Antiqua" panose="02040602050305030304" pitchFamily="18" charset="0"/>
                      </a:endParaRP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8) инвалиды;</a:t>
                      </a: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endParaRPr lang="ru-RU" sz="2000" b="0" dirty="0">
                        <a:latin typeface="Book Antiqua" panose="02040602050305030304" pitchFamily="18" charset="0"/>
                      </a:endParaRP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9) дети-инвалиды.</a:t>
                      </a: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(</a:t>
                      </a:r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становление Правительства РФ от 28 декабря 2021 г. </a:t>
                      </a:r>
                      <a:r>
                        <a:rPr lang="en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2505</a:t>
                      </a:r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ru-RU" sz="2000" b="1" dirty="0">
                          <a:latin typeface="Book Antiqua" panose="02040602050305030304" pitchFamily="18" charset="0"/>
                        </a:rPr>
                        <a:t>приложение к территориальной программе ОМС)</a:t>
                      </a:r>
                    </a:p>
                    <a:p>
                      <a:pPr indent="0" algn="just">
                        <a:spcBef>
                          <a:spcPts val="0"/>
                        </a:spcBef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Требования к территориальной программе в части определения порядка, условий предоставления медицинской помощи, критериев доступности и качества медицинской помощи</a:t>
                      </a:r>
                    </a:p>
                    <a:p>
                      <a:pPr algn="just">
                        <a:spcBef>
                          <a:spcPts val="0"/>
                        </a:spcBef>
                      </a:pPr>
                      <a:r>
                        <a:rPr lang="ru-RU" sz="2000" b="1" dirty="0">
                          <a:latin typeface="Book Antiqua" panose="02040602050305030304" pitchFamily="18" charset="0"/>
                        </a:rPr>
                        <a:t>перечень лекарственных препаратов, отпускаемых населению в соответствии с перечнем групп населения и категорий заболеваний, при амбулаторном лечении которых лекарственные препараты и медицинские изделия отпускаются по рецептам врачей бесплатно, или с 50-процентной скидкой</a:t>
                      </a:r>
                      <a:endParaRPr lang="ru-RU" sz="2000" b="1" dirty="0">
                        <a:solidFill>
                          <a:schemeClr val="dk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algn="l"/>
                      <a:endParaRPr lang="ru-RU" sz="2000" b="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39616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9880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5"/>
          <a:srcRect t="2734" r="5767" b="17243"/>
          <a:stretch/>
        </p:blipFill>
        <p:spPr>
          <a:xfrm>
            <a:off x="0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8" name="Объект 2"/>
          <p:cNvSpPr txBox="1">
            <a:spLocks/>
          </p:cNvSpPr>
          <p:nvPr/>
        </p:nvSpPr>
        <p:spPr bwMode="auto">
          <a:xfrm>
            <a:off x="1851960" y="2851294"/>
            <a:ext cx="15014776" cy="5704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buNone/>
            </a:pP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Определение СК по гражданским делам Первого кассационного суда общей юрисдикции от 25 июля 2022 г. по делу </a:t>
            </a:r>
            <a:r>
              <a:rPr lang="en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N 8</a:t>
            </a: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Г-15872/2022[88-17631/2022]</a:t>
            </a:r>
            <a:endParaRPr lang="ru-RU" sz="2000" dirty="0">
              <a:solidFill>
                <a:srgbClr val="0070C0"/>
              </a:solidFill>
              <a:latin typeface="Book Antiqua" panose="02040602050305030304" pitchFamily="18" charset="0"/>
            </a:endParaRPr>
          </a:p>
          <a:p>
            <a:pPr indent="0" algn="just"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Каждый гражданин Российской Федерации, застрахованный по Программе обязательного медицинского страхования, имеет право один раз в год поменять медицинскую организацию, в которой ему амбулаторно предоставляется медицинская помощь – поликлинику.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ри этом гражданин может выбрать любую медицинскую организацию из числа включенных в реестр медицинских организаций, участвующих в реализации территориальной программы государственных гарантий бесплатного оказания гражданам медицинской помощи.</a:t>
            </a:r>
          </a:p>
          <a:p>
            <a:pPr indent="0" algn="just">
              <a:buNone/>
            </a:pPr>
            <a:endParaRPr lang="ru-RU" sz="2000" b="0" i="0" u="none" strike="noStrike" dirty="0">
              <a:solidFill>
                <a:srgbClr val="22272F"/>
              </a:solidFill>
              <a:effectLst/>
              <a:latin typeface="Book Antiqua" panose="02040602050305030304" pitchFamily="18" charset="0"/>
            </a:endParaRPr>
          </a:p>
          <a:p>
            <a:pPr algn="just"/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Разрешая спор и отказывая в удовлетворении иска И.Г, суд первой инстанции исходил из того, что у ответчика 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отсутствуют правовые основания для выписки рецептов на льготное обеспечение истца, поскольку последняя зарегистрирована по месту жительства в другом субъекте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, поэтому право на льготное лекарственное обеспечение в Московской области как региональный льготник она не имеет.</a:t>
            </a:r>
          </a:p>
          <a:p>
            <a:pPr algn="just"/>
            <a:endParaRPr lang="ru-RU" sz="2000" b="0" i="0" u="none" strike="noStrike" dirty="0">
              <a:solidFill>
                <a:srgbClr val="22272F"/>
              </a:solidFill>
              <a:effectLst/>
              <a:latin typeface="Book Antiqua" panose="02040602050305030304" pitchFamily="18" charset="0"/>
            </a:endParaRPr>
          </a:p>
          <a:p>
            <a:pPr algn="just"/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Отменяя решение суда первой инстанции и удовлетворяя исковые требования И.Г. о компенсации морального вреда, суд апелляционной инстанции пришел к выводу, что в течение периода прикрепления к ГБУЗ ….И.Г. вне зависимости от места регистрации имела право на обеспечение указанным медицинским учреждением рецептами на лекарственные средства в соответствии с установленным ей диагнозом, в связи с чем, незаконный отказ ГБУЗ МО в выдаче И.Г. рецептов на льготное лекарственное обеспечение повлекло нарушение личных неимущественных прав истца и возникновение у истца права на компенсацию морального вреда с ответчика.</a:t>
            </a:r>
          </a:p>
          <a:p>
            <a:pPr indent="0" algn="just">
              <a:buNone/>
            </a:pPr>
            <a:endParaRPr lang="ru-RU" sz="20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6368143" y="1233271"/>
            <a:ext cx="9650186" cy="992652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Льготное лекарственное обеспечение  не зависит от места регистраци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3A4055D-3136-1D49-97F0-D85D5CE8CBDF}"/>
              </a:ext>
            </a:extLst>
          </p:cNvPr>
          <p:cNvSpPr/>
          <p:nvPr/>
        </p:nvSpPr>
        <p:spPr>
          <a:xfrm>
            <a:off x="1851960" y="9563908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https://</a:t>
            </a:r>
            <a:r>
              <a:rPr lang="en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en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162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5"/>
          <a:srcRect t="2734" r="5767" b="17243"/>
          <a:stretch/>
        </p:blipFill>
        <p:spPr>
          <a:xfrm>
            <a:off x="-105135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8" name="Объект 2"/>
          <p:cNvSpPr txBox="1">
            <a:spLocks/>
          </p:cNvSpPr>
          <p:nvPr/>
        </p:nvSpPr>
        <p:spPr bwMode="auto">
          <a:xfrm>
            <a:off x="1630813" y="2688009"/>
            <a:ext cx="15235923" cy="5704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Кассационное определение СК по административным делам Верховного Суда РФ от 14 апреля 2021 г. </a:t>
            </a:r>
            <a:r>
              <a:rPr lang="en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N 56-</a:t>
            </a: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КАД21-2-К9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0" i="0" u="none" strike="noStrike" dirty="0">
              <a:solidFill>
                <a:srgbClr val="22272F"/>
              </a:solidFill>
              <a:effectLst/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Департамент отказал в выдаче рецепта на бесплатное получение…, мотивируя тем, что  Г.Л. отказалась от государственной помощи в виде набора социальных услуг в пользу денежной выплаты, в связи с чем оснований для бесплатного обеспечения инсулином не имеется.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1" dirty="0">
              <a:solidFill>
                <a:srgbClr val="22272F"/>
              </a:solidFill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rgbClr val="22272F"/>
                </a:solidFill>
                <a:latin typeface="Book Antiqua" panose="02040602050305030304" pitchFamily="18" charset="0"/>
              </a:rPr>
              <a:t>С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уды нижестоящих инстанций, исходили из того, что Г.Л.: отказалась от закреплённого </a:t>
            </a:r>
            <a:r>
              <a:rPr lang="ru-RU" sz="2000" b="1" i="0" u="none" strike="noStrike" dirty="0">
                <a:solidFill>
                  <a:srgbClr val="551A8B"/>
                </a:solidFill>
                <a:effectLst/>
                <a:latin typeface="Book Antiqua" panose="02040602050305030304" pitchFamily="18" charset="0"/>
                <a:hlinkClick r:id="rId7"/>
              </a:rPr>
              <a:t>пунктом 8 статьи 6</a:t>
            </a:r>
            <a:r>
              <a:rPr lang="ru-RU" sz="2000" b="1" i="0" u="none" strike="noStrike" baseline="30000" dirty="0">
                <a:solidFill>
                  <a:srgbClr val="551A8B"/>
                </a:solidFill>
                <a:effectLst/>
                <a:latin typeface="Book Antiqua" panose="02040602050305030304" pitchFamily="18" charset="0"/>
                <a:hlinkClick r:id="rId7"/>
              </a:rPr>
              <a:t> 1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 Федерального закона от 17 июля 1999 года </a:t>
            </a:r>
            <a:r>
              <a:rPr lang="en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N 178-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ФЗ права инвалидов на получение государственной социальной помощи в виде набора социальных услуг; получает денежную компенсацию, следовательно, отсутствуют правовые основания для её бесплатного обеспечения лекарственными препаратами.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i="1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Судебная коллегия по административным делам Верховного Суда Российской Федерации согласиться с данными выводами судов не может.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0" i="0" u="none" strike="noStrike" dirty="0">
              <a:solidFill>
                <a:srgbClr val="551A8B"/>
              </a:solidFill>
              <a:effectLst/>
              <a:latin typeface="Book Antiqua" panose="02040602050305030304" pitchFamily="18" charset="0"/>
              <a:hlinkClick r:id="rId8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0" i="0" u="none" strike="noStrike" dirty="0">
                <a:solidFill>
                  <a:srgbClr val="551A8B"/>
                </a:solidFill>
                <a:effectLst/>
                <a:latin typeface="Book Antiqua" panose="02040602050305030304" pitchFamily="18" charset="0"/>
                <a:hlinkClick r:id="rId8"/>
              </a:rPr>
              <a:t>Постановлением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 Правительства Российской Федерации от 30 июля 1994 года </a:t>
            </a:r>
            <a:r>
              <a:rPr lang="en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N 890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утверждён </a:t>
            </a:r>
            <a:r>
              <a:rPr lang="ru-RU" sz="2000" b="0" i="0" u="none" strike="noStrike" dirty="0">
                <a:solidFill>
                  <a:srgbClr val="551A8B"/>
                </a:solidFill>
                <a:effectLst/>
                <a:latin typeface="Book Antiqua" panose="02040602050305030304" pitchFamily="18" charset="0"/>
                <a:hlinkClick r:id="rId9"/>
              </a:rPr>
              <a:t>Перечень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 групп населения и категорий заболеваний, при амбулаторном лечении которых лекарственные средства и изделия медицинского назначения отпускаются по рецептам врачей бесплатно, относящий инвалидов </a:t>
            </a:r>
            <a:r>
              <a:rPr lang="en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I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группы, неработающих инвалидов </a:t>
            </a:r>
            <a:r>
              <a:rPr lang="en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II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группы, детей - инвалидов в возрасте до 18 лет к самостоятельной группе населения, 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которой все без исключения лекарственные средства по медицинским показаниям по рецептам врача при амбулаторном лечении предоставляются бесплатно.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1" i="0" u="none" strike="noStrike" dirty="0">
              <a:solidFill>
                <a:srgbClr val="22272F"/>
              </a:solidFill>
              <a:effectLst/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Исходя из приведённых нормативных положений отказ лица, признанного инвалидом, от получения государственной социальной помощи в виде набора социальных услуг, предусмотренных Федеральным законом от 17 июля 1999 года </a:t>
            </a:r>
            <a:r>
              <a:rPr lang="en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N 178-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ФЗ, не влияет на реализацию им права на получение бесплатно лекарственного препарата, относящегося к жизненно необходимым лекарствам……</a:t>
            </a:r>
            <a:endParaRPr lang="ru-RU" sz="2000" b="1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5812971" y="1233271"/>
            <a:ext cx="10401300" cy="1169466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Отказ от федеральной льготы не влечет отказ в получении лекарственного препарата по региональной льготе </a:t>
            </a:r>
          </a:p>
        </p:txBody>
      </p:sp>
    </p:spTree>
    <p:extLst>
      <p:ext uri="{BB962C8B-B14F-4D97-AF65-F5344CB8AC3E}">
        <p14:creationId xmlns:p14="http://schemas.microsoft.com/office/powerpoint/2010/main" val="39180177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14298"/>
            <a:ext cx="1828800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6751393" y="982023"/>
            <a:ext cx="9303361" cy="1526815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Родные умершего льготника, необеспеченного лекарствами, имеют право на возмещение стоимости самостоятельно купленных льготнику лекарств</a:t>
            </a: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 bwMode="auto">
          <a:xfrm>
            <a:off x="1582615" y="3036307"/>
            <a:ext cx="15034847" cy="516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Font typeface="Arial" panose="020B0604020202020204" pitchFamily="34" charset="0"/>
              <a:buNone/>
            </a:pPr>
            <a:r>
              <a:rPr lang="ru-RU" alt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пределение Верховного Суда РФ от 25 января 2021 г. N 49-КГ20-21-К6</a:t>
            </a:r>
          </a:p>
          <a:p>
            <a:pPr algn="just">
              <a:buFont typeface="Arial" panose="020B0604020202020204" pitchFamily="34" charset="0"/>
              <a:buNone/>
            </a:pPr>
            <a:endParaRPr lang="ru-RU" altLang="ru-RU" sz="2000" b="1" dirty="0">
              <a:latin typeface="Book Antiqua" panose="02040602050305030304" pitchFamily="18" charset="0"/>
            </a:endParaRPr>
          </a:p>
          <a:p>
            <a:pPr algn="just">
              <a:buFont typeface="Arial" panose="020B0604020202020204" pitchFamily="34" charset="0"/>
              <a:buNone/>
            </a:pPr>
            <a:r>
              <a:rPr lang="ru-RU" altLang="ru-RU" sz="2000" b="1" dirty="0">
                <a:latin typeface="Book Antiqua" panose="02040602050305030304" pitchFamily="18" charset="0"/>
              </a:rPr>
              <a:t>Верховный Суд РФ отказался признать правомерными отказы нижестоящих судов в возмещении суммы затрат, которые супруг (на момент иска - уже вдовец) понес на покупку лекарств для больной жены - инвалида. </a:t>
            </a:r>
            <a:r>
              <a:rPr lang="ru-RU" altLang="ru-RU" sz="2000" dirty="0">
                <a:latin typeface="Book Antiqua" panose="02040602050305030304" pitchFamily="18" charset="0"/>
              </a:rPr>
              <a:t>При этом суды признали, что супруга истца - как инвалид имела право на бесплатное получение лекарственных препаратов за счёт бюджетных средств, однако в полном объёме обеспечена ими не была </a:t>
            </a:r>
            <a:r>
              <a:rPr lang="ru-RU" altLang="ru-RU" sz="2000" b="1" dirty="0">
                <a:latin typeface="Book Antiqua" panose="02040602050305030304" pitchFamily="18" charset="0"/>
              </a:rPr>
              <a:t>по вине регионального </a:t>
            </a:r>
            <a:r>
              <a:rPr lang="ru-RU" altLang="ru-RU" sz="2000" b="1" dirty="0" err="1">
                <a:latin typeface="Book Antiqua" panose="02040602050305030304" pitchFamily="18" charset="0"/>
              </a:rPr>
              <a:t>минздрава</a:t>
            </a:r>
            <a:r>
              <a:rPr lang="ru-RU" altLang="ru-RU" sz="2000" b="1" dirty="0">
                <a:latin typeface="Book Antiqua" panose="02040602050305030304" pitchFamily="18" charset="0"/>
              </a:rPr>
              <a:t>, чье бездействие в обеспечении женщины жизненно необходимыми лекарственными препаратами являлось незаконным.</a:t>
            </a:r>
            <a:r>
              <a:rPr lang="ru-RU" altLang="ru-RU" sz="2000" dirty="0">
                <a:latin typeface="Book Antiqua" panose="02040602050305030304" pitchFamily="18" charset="0"/>
              </a:rPr>
              <a:t> Однако в возмещении затрат (более 300 тысяч рублей) вдовцу было отказано: если бы сама пациентка обратилась с таким иском, его бы удовлетворили, а вдовец на это не вправе рассчитывать:</a:t>
            </a:r>
          </a:p>
          <a:p>
            <a:pPr algn="just">
              <a:buFont typeface="Arial" panose="020B0604020202020204" pitchFamily="34" charset="0"/>
              <a:buNone/>
            </a:pPr>
            <a:r>
              <a:rPr lang="ru-RU" altLang="ru-RU" sz="2000" dirty="0">
                <a:latin typeface="Book Antiqua" panose="02040602050305030304" pitchFamily="18" charset="0"/>
              </a:rPr>
              <a:t>- право на получение компенсации за самостоятельно приобретённые лекарственные препараты неразрывно связано с личностью её получателя,</a:t>
            </a:r>
          </a:p>
          <a:p>
            <a:pPr algn="just">
              <a:buFont typeface="Arial" panose="020B0604020202020204" pitchFamily="34" charset="0"/>
              <a:buNone/>
            </a:pPr>
            <a:r>
              <a:rPr lang="ru-RU" altLang="ru-RU" sz="2000" dirty="0">
                <a:latin typeface="Book Antiqua" panose="02040602050305030304" pitchFamily="18" charset="0"/>
              </a:rPr>
              <a:t>- и в случае смерти лица, имеющего право на получение такой компенсации, это право не может перейти к другому лицу, в том числе по наследству.</a:t>
            </a:r>
          </a:p>
          <a:p>
            <a:pPr algn="just">
              <a:buFont typeface="Arial" panose="020B0604020202020204" pitchFamily="34" charset="0"/>
              <a:buNone/>
            </a:pPr>
            <a:r>
              <a:rPr lang="ru-RU" altLang="ru-RU" sz="2000" b="1" dirty="0">
                <a:latin typeface="Book Antiqua" panose="02040602050305030304" pitchFamily="18" charset="0"/>
              </a:rPr>
              <a:t>За моральные страдания ввиду необеспечения препаратами вдовцу присудили компенсацию в 5 000 рублей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20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  <a:p>
            <a:pPr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16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1249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-1"/>
            <a:ext cx="1828800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6693840" y="1086586"/>
            <a:ext cx="9224447" cy="1472562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Родные умершего льготника, необеспеченного лекарствами, имеют право на возмещение стоимости самостоятельно купленных льготнику лекарств</a:t>
            </a:r>
          </a:p>
        </p:txBody>
      </p:sp>
      <p:sp>
        <p:nvSpPr>
          <p:cNvPr id="10" name="Содержимое 2"/>
          <p:cNvSpPr txBox="1">
            <a:spLocks/>
          </p:cNvSpPr>
          <p:nvPr/>
        </p:nvSpPr>
        <p:spPr bwMode="auto">
          <a:xfrm>
            <a:off x="1600200" y="2894639"/>
            <a:ext cx="15245862" cy="516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Font typeface="Arial" panose="020B0604020202020204" pitchFamily="34" charset="0"/>
              <a:buNone/>
            </a:pPr>
            <a:r>
              <a:rPr lang="ru-RU" alt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пределение Верховного Суда РФ от 25 января 2021 г. N 49-КГ20-21-К6</a:t>
            </a:r>
          </a:p>
          <a:p>
            <a:pPr algn="just">
              <a:buFont typeface="Arial" panose="020B0604020202020204" pitchFamily="34" charset="0"/>
              <a:buNone/>
            </a:pPr>
            <a:endParaRPr lang="ru-RU" altLang="ru-RU" sz="2000" b="1" dirty="0">
              <a:latin typeface="Book Antiqua" panose="02040602050305030304" pitchFamily="18" charset="0"/>
            </a:endParaRPr>
          </a:p>
          <a:p>
            <a:pPr algn="just">
              <a:spcBef>
                <a:spcPct val="0"/>
              </a:spcBef>
              <a:buNone/>
            </a:pPr>
            <a:r>
              <a:rPr lang="ru-RU" altLang="ru-RU" sz="2000" b="1" dirty="0">
                <a:latin typeface="Book Antiqua" panose="02040602050305030304" pitchFamily="18" charset="0"/>
              </a:rPr>
              <a:t>Верховный Суд РФ, отменяя все состоявшиеся по делу акты и отправляя дело на пересмотр, отметил следующие ошибки в его рассмотрении:</a:t>
            </a:r>
          </a:p>
          <a:p>
            <a:pPr algn="just">
              <a:spcBef>
                <a:spcPct val="0"/>
              </a:spcBef>
              <a:buNone/>
            </a:pPr>
            <a:br>
              <a:rPr lang="ru-RU" altLang="ru-RU" sz="2000" dirty="0">
                <a:latin typeface="Book Antiqua" panose="02040602050305030304" pitchFamily="18" charset="0"/>
              </a:rPr>
            </a:br>
            <a:r>
              <a:rPr lang="ru-RU" altLang="ru-RU" sz="2000" dirty="0">
                <a:latin typeface="Book Antiqua" panose="02040602050305030304" pitchFamily="18" charset="0"/>
              </a:rPr>
              <a:t>- к основным принципам охраны здоровья граждан относится также и принцип социальной защищённости граждан в случае утраты здоровья (</a:t>
            </a:r>
            <a:r>
              <a:rPr lang="ru-RU" altLang="ru-RU" sz="2000" dirty="0">
                <a:latin typeface="Book Antiqua" panose="02040602050305030304" pitchFamily="18" charset="0"/>
                <a:hlinkClick r:id="rId6"/>
              </a:rPr>
              <a:t>ст. 4</a:t>
            </a:r>
            <a:r>
              <a:rPr lang="ru-RU" altLang="ru-RU" sz="2000" dirty="0">
                <a:latin typeface="Book Antiqua" panose="02040602050305030304" pitchFamily="18" charset="0"/>
              </a:rPr>
              <a:t> Закона об основах охраны здоровья граждан). Этот принцип в соответствии со </a:t>
            </a:r>
            <a:r>
              <a:rPr lang="ru-RU" altLang="ru-RU" sz="2000" dirty="0">
                <a:latin typeface="Book Antiqua" panose="02040602050305030304" pitchFamily="18" charset="0"/>
                <a:hlinkClick r:id="rId7"/>
              </a:rPr>
              <a:t>статьёй 8</a:t>
            </a:r>
            <a:r>
              <a:rPr lang="ru-RU" altLang="ru-RU" sz="2000" dirty="0">
                <a:latin typeface="Book Antiqua" panose="02040602050305030304" pitchFamily="18" charset="0"/>
              </a:rPr>
              <a:t> названного закона обеспечивается путём установления и реализации различных мер, гарантирующих социальное обеспечение, в том числе за счёт средств ОСС, определения потребности гражданина в социальной защите, в реабилитации и уходе в случае заболевания, временной нетрудоспособности, инвалидности;</a:t>
            </a:r>
          </a:p>
          <a:p>
            <a:pPr algn="just">
              <a:buNone/>
            </a:pPr>
            <a:r>
              <a:rPr lang="ru-RU" altLang="ru-RU" sz="2000" dirty="0">
                <a:latin typeface="Book Antiqua" panose="02040602050305030304" pitchFamily="18" charset="0"/>
              </a:rPr>
              <a:t>- согласно </a:t>
            </a:r>
            <a:r>
              <a:rPr lang="ru-RU" altLang="ru-RU" sz="2000" dirty="0">
                <a:latin typeface="Book Antiqua" panose="02040602050305030304" pitchFamily="18" charset="0"/>
                <a:hlinkClick r:id="rId8"/>
              </a:rPr>
              <a:t>ст. 6.1</a:t>
            </a:r>
            <a:r>
              <a:rPr lang="ru-RU" altLang="ru-RU" sz="2000" dirty="0">
                <a:latin typeface="Book Antiqua" panose="02040602050305030304" pitchFamily="18" charset="0"/>
              </a:rPr>
              <a:t> Закона о государственной </a:t>
            </a:r>
            <a:r>
              <a:rPr lang="ru-RU" altLang="ru-RU" sz="2000" dirty="0" err="1">
                <a:latin typeface="Book Antiqua" panose="02040602050305030304" pitchFamily="18" charset="0"/>
              </a:rPr>
              <a:t>соцпомощи</a:t>
            </a:r>
            <a:r>
              <a:rPr lang="ru-RU" altLang="ru-RU" sz="2000" dirty="0">
                <a:latin typeface="Book Antiqua" panose="02040602050305030304" pitchFamily="18" charset="0"/>
              </a:rPr>
              <a:t> </a:t>
            </a:r>
            <a:r>
              <a:rPr lang="ru-RU" altLang="ru-RU" sz="2000" b="1" dirty="0">
                <a:latin typeface="Book Antiqua" panose="02040602050305030304" pitchFamily="18" charset="0"/>
              </a:rPr>
              <a:t>инвалиды отнесены к числу граждан, имеющих право на получение государственной социальной помощи в виде набора социальных услуг, а в состав в состав набора </a:t>
            </a:r>
            <a:r>
              <a:rPr lang="ru-RU" altLang="ru-RU" sz="2000" b="1" dirty="0" err="1">
                <a:latin typeface="Book Antiqua" panose="02040602050305030304" pitchFamily="18" charset="0"/>
              </a:rPr>
              <a:t>соцуслуг</a:t>
            </a:r>
            <a:r>
              <a:rPr lang="ru-RU" altLang="ru-RU" sz="2000" b="1" dirty="0">
                <a:latin typeface="Book Antiqua" panose="02040602050305030304" pitchFamily="18" charset="0"/>
              </a:rPr>
              <a:t> включена </a:t>
            </a:r>
            <a:r>
              <a:rPr lang="ru-RU" altLang="ru-RU" sz="2000" b="1" dirty="0" err="1">
                <a:latin typeface="Book Antiqua" panose="02040602050305030304" pitchFamily="18" charset="0"/>
              </a:rPr>
              <a:t>соцуслуга</a:t>
            </a:r>
            <a:r>
              <a:rPr lang="ru-RU" altLang="ru-RU" sz="2000" b="1" dirty="0">
                <a:latin typeface="Book Antiqua" panose="02040602050305030304" pitchFamily="18" charset="0"/>
              </a:rPr>
              <a:t> по обеспечению необходимыми лекарственными препаратами по рецептам на них;</a:t>
            </a:r>
          </a:p>
          <a:p>
            <a:pPr algn="just">
              <a:buNone/>
            </a:pPr>
            <a:r>
              <a:rPr lang="ru-RU" altLang="ru-RU" sz="2000" dirty="0">
                <a:latin typeface="Book Antiqua" panose="02040602050305030304" pitchFamily="18" charset="0"/>
              </a:rPr>
              <a:t>- спорные препараты, которыми не была обеспечена пациентка, и которые ее семья приобрела за свой счет, включены в </a:t>
            </a:r>
            <a:r>
              <a:rPr lang="ru-RU" altLang="ru-RU" sz="2000" dirty="0">
                <a:latin typeface="Book Antiqua" panose="02040602050305030304" pitchFamily="18" charset="0"/>
                <a:hlinkClick r:id="rId9"/>
              </a:rPr>
              <a:t>Перечень</a:t>
            </a:r>
            <a:r>
              <a:rPr lang="ru-RU" altLang="ru-RU" sz="2000" dirty="0">
                <a:latin typeface="Book Antiqua" panose="02040602050305030304" pitchFamily="18" charset="0"/>
              </a:rPr>
              <a:t> ЖНВЛП;</a:t>
            </a:r>
          </a:p>
          <a:p>
            <a:pPr algn="just">
              <a:buNone/>
            </a:pPr>
            <a:r>
              <a:rPr lang="ru-RU" altLang="ru-RU" sz="2000" dirty="0">
                <a:latin typeface="Book Antiqua" panose="02040602050305030304" pitchFamily="18" charset="0"/>
              </a:rPr>
              <a:t>- при этом согласно </a:t>
            </a:r>
            <a:r>
              <a:rPr lang="ru-RU" altLang="ru-RU" sz="2000" dirty="0">
                <a:latin typeface="Book Antiqua" panose="02040602050305030304" pitchFamily="18" charset="0"/>
                <a:hlinkClick r:id="rId10"/>
              </a:rPr>
              <a:t>п. 1 ч. 3 ст. 80 </a:t>
            </a:r>
            <a:r>
              <a:rPr lang="ru-RU" altLang="ru-RU" sz="2000" dirty="0">
                <a:latin typeface="Book Antiqua" panose="02040602050305030304" pitchFamily="18" charset="0"/>
              </a:rPr>
              <a:t>Закона об основах охраны здоровья граждан при оказании медпомощи в рамках программы госгарантий бесплатного оказания гражданам медпомощи </a:t>
            </a:r>
            <a:r>
              <a:rPr lang="ru-RU" altLang="ru-RU" sz="2000" b="1" dirty="0">
                <a:latin typeface="Book Antiqua" panose="02040602050305030304" pitchFamily="18" charset="0"/>
              </a:rPr>
              <a:t>не подлежат оплате за счёт личных средств граждан оказание медицинских услуг, назначение и применение лекарственных препаратов, включённых в </a:t>
            </a:r>
            <a:r>
              <a:rPr lang="ru-RU" altLang="ru-RU" sz="2000" b="1" dirty="0">
                <a:latin typeface="Book Antiqua" panose="02040602050305030304" pitchFamily="18" charset="0"/>
                <a:hlinkClick r:id="rId9"/>
              </a:rPr>
              <a:t>Перечень</a:t>
            </a:r>
            <a:r>
              <a:rPr lang="ru-RU" altLang="ru-RU" sz="2000" b="1" dirty="0">
                <a:latin typeface="Book Antiqua" panose="02040602050305030304" pitchFamily="18" charset="0"/>
              </a:rPr>
              <a:t> ЖНВЛП, по медицинским показаниям в соответствии со стандартами медпомощи;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20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  <a:p>
            <a:pPr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16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629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>
          <a:blip r:embed="rId5"/>
          <a:stretch/>
        </p:blipFill>
        <p:spPr>
          <a:xfrm>
            <a:off x="1" y="10080"/>
            <a:ext cx="18288000" cy="10286640"/>
          </a:xfrm>
          <a:prstGeom prst="rect">
            <a:avLst/>
          </a:prstGeom>
          <a:ln w="0">
            <a:noFill/>
          </a:ln>
        </p:spPr>
      </p:pic>
      <p:sp>
        <p:nvSpPr>
          <p:cNvPr id="42" name="CustomShape 2"/>
          <p:cNvSpPr/>
          <p:nvPr/>
        </p:nvSpPr>
        <p:spPr>
          <a:xfrm>
            <a:off x="510675" y="3314160"/>
            <a:ext cx="17479440" cy="3071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8000"/>
              </a:lnSpc>
              <a:spcAft>
                <a:spcPts val="799"/>
              </a:spcAft>
            </a:pPr>
            <a:endParaRPr lang="ru-RU" sz="3600" b="1" strike="noStrike" spc="-1" dirty="0">
              <a:latin typeface="Arial"/>
            </a:endParaRPr>
          </a:p>
        </p:txBody>
      </p:sp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948288" y="1430022"/>
            <a:ext cx="2195680" cy="1842799"/>
          </a:xfrm>
          <a:prstGeom prst="rect">
            <a:avLst/>
          </a:prstGeom>
          <a:ln w="0">
            <a:noFill/>
          </a:ln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5004720" y="3528940"/>
            <a:ext cx="7904163" cy="26416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ru-RU" altLang="ru-RU" sz="1800" b="1" dirty="0">
                <a:solidFill>
                  <a:srgbClr val="C00000"/>
                </a:solidFill>
                <a:latin typeface="Bookman Old Style" panose="02050604050505020204" pitchFamily="18" charset="0"/>
              </a:rPr>
            </a:br>
            <a:br>
              <a:rPr lang="ru-RU" altLang="ru-RU" sz="20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br>
              <a:rPr lang="ru-RU" altLang="ru-RU" sz="24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endParaRPr lang="en-US" altLang="en-US" sz="20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1369" y="3525852"/>
            <a:ext cx="15312980" cy="1150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000" b="1" dirty="0">
              <a:solidFill>
                <a:srgbClr val="0070C0"/>
              </a:solidFill>
              <a:latin typeface="Book Antiqua" panose="020406020503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000" b="1" dirty="0">
                <a:solidFill>
                  <a:srgbClr val="0070C0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034697" y="1379688"/>
            <a:ext cx="4468969" cy="875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en-US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www.med-law.ru</a:t>
            </a:r>
            <a:r>
              <a:rPr kumimoji="1" lang="ru-RU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endParaRPr kumimoji="1" lang="ru-RU" altLang="ru-RU" sz="2400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C61A40B-CAF7-D942-8673-83FE31B9FAD5}"/>
              </a:ext>
            </a:extLst>
          </p:cNvPr>
          <p:cNvSpPr/>
          <p:nvPr/>
        </p:nvSpPr>
        <p:spPr>
          <a:xfrm>
            <a:off x="1081369" y="4020297"/>
            <a:ext cx="1545532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3600" b="1" dirty="0">
                <a:solidFill>
                  <a:srgbClr val="0070C0"/>
                </a:solidFill>
                <a:latin typeface="Bookman Old Style" panose="02050604050505020204" pitchFamily="18" charset="0"/>
              </a:rPr>
              <a:t>Лекарственное обеспечение </a:t>
            </a:r>
          </a:p>
          <a:p>
            <a:pPr indent="450215" algn="ctr"/>
            <a:r>
              <a:rPr lang="ru-RU" sz="3600" dirty="0">
                <a:solidFill>
                  <a:srgbClr val="0070C0"/>
                </a:solidFill>
                <a:latin typeface="Bookman Old Style" panose="02050604050505020204" pitchFamily="18" charset="0"/>
              </a:rPr>
              <a:t>пациентов с сердечно-сосудистыми заболеваниями</a:t>
            </a:r>
            <a:endParaRPr lang="ru-RU" sz="3600" dirty="0">
              <a:solidFill>
                <a:srgbClr val="0070C0"/>
              </a:solidFill>
              <a:latin typeface="Bookman Old Style" panose="020506040505050202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14650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-1"/>
            <a:ext cx="1828800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6943099" y="1086586"/>
            <a:ext cx="8970978" cy="1472562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Родные умершего льготника, необеспеченного лекарствами, имеют право на возмещение стоимости самостоятельно купленных льготнику лекарств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1565031" y="3033765"/>
            <a:ext cx="15281031" cy="4630903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Font typeface="Arial" panose="020B0604020202020204" pitchFamily="34" charset="0"/>
              <a:buNone/>
            </a:pPr>
            <a:r>
              <a:rPr lang="ru-RU" sz="8000" b="1" dirty="0">
                <a:solidFill>
                  <a:srgbClr val="0070C0"/>
                </a:solidFill>
                <a:latin typeface="Book Antiqua" panose="02040602050305030304" pitchFamily="18" charset="0"/>
              </a:rPr>
              <a:t>Родные умершего льготника, необеспеченного лекарствами, имеют право на возмещение стоимости самостоятельно купленных льготнику лекарств</a:t>
            </a:r>
            <a:endParaRPr lang="ru-RU" altLang="ru-RU" sz="8000" dirty="0">
              <a:solidFill>
                <a:srgbClr val="0070C0"/>
              </a:solidFill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8000" dirty="0">
              <a:solidFill>
                <a:srgbClr val="0070C0"/>
              </a:solidFill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8000" dirty="0">
                <a:solidFill>
                  <a:srgbClr val="0070C0"/>
                </a:solidFill>
                <a:latin typeface="Book Antiqua" panose="02040602050305030304" pitchFamily="18" charset="0"/>
              </a:rPr>
              <a:t>Определение Верховного Суда РФ от 25 января 2021 г. N 49-КГ20-21-К6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8000" dirty="0"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altLang="ru-RU" sz="8000" dirty="0">
                <a:latin typeface="Book Antiqua" panose="02040602050305030304" pitchFamily="18" charset="0"/>
              </a:rPr>
              <a:t>из приведённых нормативных положений в их системной взаимосвязи следует, что одним из принципов охраны здоровья в РФ является соблюдение прав граждан в сфере охраны здоровья и обеспечение их реализации государственными гарантиями, в том числе - оказание инвалидам, страдающим социально значимыми заболеваниями, государственной </a:t>
            </a:r>
            <a:r>
              <a:rPr lang="ru-RU" altLang="ru-RU" sz="8000" dirty="0" err="1">
                <a:latin typeface="Book Antiqua" panose="02040602050305030304" pitchFamily="18" charset="0"/>
              </a:rPr>
              <a:t>соцпомощи</a:t>
            </a:r>
            <a:r>
              <a:rPr lang="ru-RU" altLang="ru-RU" sz="8000" dirty="0">
                <a:latin typeface="Book Antiqua" panose="02040602050305030304" pitchFamily="18" charset="0"/>
              </a:rPr>
              <a:t> в виде набора </a:t>
            </a:r>
            <a:r>
              <a:rPr lang="ru-RU" altLang="ru-RU" sz="8000" dirty="0" err="1">
                <a:latin typeface="Book Antiqua" panose="02040602050305030304" pitchFamily="18" charset="0"/>
              </a:rPr>
              <a:t>соцуслуг</a:t>
            </a:r>
            <a:r>
              <a:rPr lang="ru-RU" altLang="ru-RU" sz="8000" dirty="0">
                <a:latin typeface="Book Antiqua" panose="02040602050305030304" pitchFamily="18" charset="0"/>
              </a:rPr>
              <a:t>, в состав которого входит обеспечение за счёт соответствующих бюджетных средств лекарствами по рецептам вне зависимости от наименования и стоимости препарата;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8000" dirty="0"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altLang="ru-RU" sz="8000" dirty="0">
                <a:latin typeface="Book Antiqua" panose="02040602050305030304" pitchFamily="18" charset="0"/>
              </a:rPr>
              <a:t>организация такого обеспечения на территории спорного региона относится к компетенции </a:t>
            </a:r>
            <a:r>
              <a:rPr lang="ru-RU" altLang="ru-RU" sz="8000" dirty="0" err="1">
                <a:latin typeface="Book Antiqua" panose="02040602050305030304" pitchFamily="18" charset="0"/>
              </a:rPr>
              <a:t>минздрава</a:t>
            </a:r>
            <a:r>
              <a:rPr lang="ru-RU" altLang="ru-RU" sz="8000" dirty="0">
                <a:latin typeface="Book Antiqua" panose="02040602050305030304" pitchFamily="18" charset="0"/>
              </a:rPr>
              <a:t> республики, который должен предпринимать все предусмотренные законом меры к бесплатному обеспечению лекарственными препаратами;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8000" dirty="0"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altLang="ru-RU" sz="8000" b="1" dirty="0">
                <a:latin typeface="Book Antiqua" panose="02040602050305030304" pitchFamily="18" charset="0"/>
              </a:rPr>
              <a:t>непринятие этих мер вследствие ненадлежащего исполнения своих обязанностей противоречит сути предусмотренных законом гарантий бесплатного оказания гражданам медицинской помощи, включая бесплатное лекарственное обеспечение, и лишает таких граждан права на медицинскую помощь в гарантированном объёме и нарушает их право на охрану здоровья;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8800" dirty="0"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ru-RU" altLang="ru-RU" sz="6000" dirty="0">
              <a:latin typeface="Book Antiqua" panose="02040602050305030304" pitchFamily="18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ru-RU" sz="6000" dirty="0">
              <a:solidFill>
                <a:srgbClr val="0070C0"/>
              </a:solidFill>
              <a:latin typeface="Book Antiqua" panose="0204060205030503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6000" dirty="0">
              <a:latin typeface="Book Antiqua" panose="0204060205030503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65299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4"/>
          <p:cNvSpPr/>
          <p:nvPr/>
        </p:nvSpPr>
        <p:spPr>
          <a:xfrm>
            <a:off x="5550695" y="2775233"/>
            <a:ext cx="1797843" cy="2306354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Руководитель медицинской организации организует заседание врачебной комиссии (</a:t>
            </a:r>
            <a:r>
              <a:rPr lang="ru-RU" sz="1350" b="1" dirty="0">
                <a:latin typeface="Book Antiqua" panose="02040602050305030304" pitchFamily="18" charset="0"/>
              </a:rPr>
              <a:t>не позднее 3-х дней со дня обращения пациента)</a:t>
            </a:r>
          </a:p>
        </p:txBody>
      </p:sp>
      <p:sp>
        <p:nvSpPr>
          <p:cNvPr id="9" name="Скругленный прямоугольник 5"/>
          <p:cNvSpPr/>
          <p:nvPr/>
        </p:nvSpPr>
        <p:spPr>
          <a:xfrm>
            <a:off x="8479633" y="3431382"/>
            <a:ext cx="1564481" cy="2209800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Оформление протокола </a:t>
            </a:r>
            <a:r>
              <a:rPr lang="ru-RU" sz="1350" b="1" dirty="0">
                <a:latin typeface="Book Antiqua" panose="02040602050305030304" pitchFamily="18" charset="0"/>
              </a:rPr>
              <a:t>(один рабочий день для оформления протокола и передачи в МЗ/ДЗ региона)</a:t>
            </a:r>
          </a:p>
        </p:txBody>
      </p:sp>
      <p:sp>
        <p:nvSpPr>
          <p:cNvPr id="10" name="Скругленный прямоугольник 7"/>
          <p:cNvSpPr/>
          <p:nvPr/>
        </p:nvSpPr>
        <p:spPr>
          <a:xfrm>
            <a:off x="10453688" y="2947988"/>
            <a:ext cx="1700213" cy="2052638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endParaRPr lang="ru-RU" sz="1350" dirty="0">
              <a:latin typeface="Book Antiqua" panose="02040602050305030304" pitchFamily="18" charset="0"/>
            </a:endParaRPr>
          </a:p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Передача протокола в ДЗ/МЗ региона на согласование </a:t>
            </a:r>
            <a:r>
              <a:rPr lang="ru-RU" sz="1350" b="1" dirty="0">
                <a:latin typeface="Book Antiqua" panose="02040602050305030304" pitchFamily="18" charset="0"/>
              </a:rPr>
              <a:t>(три дня для рассмотрения документации)</a:t>
            </a:r>
          </a:p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endParaRPr lang="ru-RU" sz="1200" dirty="0">
              <a:latin typeface="Book Antiqua" panose="02040602050305030304" pitchFamily="18" charset="0"/>
            </a:endParaRPr>
          </a:p>
        </p:txBody>
      </p:sp>
      <p:sp>
        <p:nvSpPr>
          <p:cNvPr id="90117" name="TextBox 33"/>
          <p:cNvSpPr txBox="1">
            <a:spLocks noChangeArrowheads="1"/>
          </p:cNvSpPr>
          <p:nvPr/>
        </p:nvSpPr>
        <p:spPr bwMode="auto">
          <a:xfrm>
            <a:off x="7072313" y="2207420"/>
            <a:ext cx="1488282" cy="1345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ru-RU" sz="1350">
                <a:solidFill>
                  <a:srgbClr val="000000"/>
                </a:solidFill>
                <a:latin typeface="Book Antiqua" panose="020406020503050303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Принятие положительного решения о назначении ЛС по жизненным показаниям</a:t>
            </a:r>
          </a:p>
        </p:txBody>
      </p:sp>
      <p:sp>
        <p:nvSpPr>
          <p:cNvPr id="15" name="Стрелка вверх 33"/>
          <p:cNvSpPr/>
          <p:nvPr/>
        </p:nvSpPr>
        <p:spPr>
          <a:xfrm>
            <a:off x="8491538" y="2257425"/>
            <a:ext cx="1666875" cy="1066800"/>
          </a:xfrm>
          <a:prstGeom prst="upArrow">
            <a:avLst>
              <a:gd name="adj1" fmla="val 72025"/>
              <a:gd name="adj2" fmla="val 23090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defRPr/>
            </a:pPr>
            <a:r>
              <a:rPr lang="ru-RU" sz="1350" dirty="0">
                <a:solidFill>
                  <a:srgbClr val="000000"/>
                </a:solidFill>
                <a:latin typeface="Book Antiqua" panose="02040602050305030304" pitchFamily="18" charset="0"/>
              </a:rPr>
              <a:t>Занесение информации в мед. карту пациента</a:t>
            </a:r>
          </a:p>
        </p:txBody>
      </p:sp>
      <p:sp>
        <p:nvSpPr>
          <p:cNvPr id="17" name="Скругленный прямоугольник 7"/>
          <p:cNvSpPr/>
          <p:nvPr/>
        </p:nvSpPr>
        <p:spPr>
          <a:xfrm>
            <a:off x="12794457" y="3031332"/>
            <a:ext cx="1816893" cy="2609850"/>
          </a:xfrm>
          <a:prstGeom prst="roundRect">
            <a:avLst/>
          </a:prstGeom>
          <a:ln>
            <a:solidFill>
              <a:srgbClr val="00206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Оформление документов для закупки в ДЗ/МЗ региона в случае положительного решения </a:t>
            </a:r>
          </a:p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(</a:t>
            </a:r>
            <a:r>
              <a:rPr lang="ru-RU" sz="1350" b="1" dirty="0">
                <a:latin typeface="Book Antiqua" panose="02040602050305030304" pitchFamily="18" charset="0"/>
              </a:rPr>
              <a:t>три дня для формирования документов для закупки)</a:t>
            </a:r>
          </a:p>
        </p:txBody>
      </p:sp>
      <p:sp>
        <p:nvSpPr>
          <p:cNvPr id="18" name="Скругленный прямоугольник 23"/>
          <p:cNvSpPr/>
          <p:nvPr/>
        </p:nvSpPr>
        <p:spPr>
          <a:xfrm>
            <a:off x="9244013" y="7100888"/>
            <a:ext cx="1533525" cy="842963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>
                <a:latin typeface="Book Antiqua" panose="02040602050305030304" pitchFamily="18" charset="0"/>
              </a:rPr>
              <a:t>Заключение контракта</a:t>
            </a:r>
          </a:p>
        </p:txBody>
      </p:sp>
      <p:sp>
        <p:nvSpPr>
          <p:cNvPr id="19" name="Скругленный прямоугольник 23"/>
          <p:cNvSpPr/>
          <p:nvPr/>
        </p:nvSpPr>
        <p:spPr>
          <a:xfrm>
            <a:off x="3090863" y="7053263"/>
            <a:ext cx="1552575" cy="957263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>
                <a:latin typeface="Book Antiqua" panose="02040602050305030304" pitchFamily="18" charset="0"/>
              </a:rPr>
              <a:t>Выписка рецепта</a:t>
            </a:r>
          </a:p>
        </p:txBody>
      </p:sp>
      <p:sp>
        <p:nvSpPr>
          <p:cNvPr id="20" name="Скругленный прямоугольник 23"/>
          <p:cNvSpPr/>
          <p:nvPr/>
        </p:nvSpPr>
        <p:spPr>
          <a:xfrm>
            <a:off x="3090863" y="5505450"/>
            <a:ext cx="1616870" cy="1000125"/>
          </a:xfrm>
          <a:prstGeom prst="roundRect">
            <a:avLst/>
          </a:prstGeom>
          <a:solidFill>
            <a:srgbClr val="B0D86E"/>
          </a:solidFill>
          <a:ln>
            <a:solidFill>
              <a:srgbClr val="9FCE0A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Bef>
                <a:spcPts val="381"/>
              </a:spcBef>
              <a:buClr>
                <a:srgbClr val="004A87"/>
              </a:buClr>
              <a:defRPr/>
            </a:pPr>
            <a:r>
              <a:rPr lang="ru-RU" sz="1200" dirty="0">
                <a:solidFill>
                  <a:schemeClr val="tx1"/>
                </a:solidFill>
                <a:latin typeface="Book Antiqua" panose="02040602050305030304" pitchFamily="18" charset="0"/>
              </a:rPr>
              <a:t>Обеспечение пациентки </a:t>
            </a:r>
            <a:r>
              <a:rPr lang="ru-RU" sz="1200" dirty="0" err="1">
                <a:solidFill>
                  <a:schemeClr val="tx1"/>
                </a:solidFill>
                <a:latin typeface="Book Antiqua" panose="02040602050305030304" pitchFamily="18" charset="0"/>
              </a:rPr>
              <a:t>ЛС</a:t>
            </a:r>
            <a:r>
              <a:rPr lang="ru-RU" sz="1200" dirty="0">
                <a:solidFill>
                  <a:schemeClr val="tx1"/>
                </a:solidFill>
                <a:latin typeface="Book Antiqua" panose="02040602050305030304" pitchFamily="18" charset="0"/>
              </a:rPr>
              <a:t>  на время данного лечения  </a:t>
            </a:r>
          </a:p>
        </p:txBody>
      </p:sp>
      <p:sp>
        <p:nvSpPr>
          <p:cNvPr id="21" name="Скругленный прямоугольник 4"/>
          <p:cNvSpPr/>
          <p:nvPr/>
        </p:nvSpPr>
        <p:spPr>
          <a:xfrm>
            <a:off x="3090863" y="2727702"/>
            <a:ext cx="2312195" cy="1678356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Лечащий врач</a:t>
            </a:r>
            <a:endParaRPr lang="en-US" sz="1350" dirty="0">
              <a:latin typeface="Book Antiqua" panose="02040602050305030304" pitchFamily="18" charset="0"/>
            </a:endParaRPr>
          </a:p>
          <a:p>
            <a:pPr algn="ctr">
              <a:buClr>
                <a:srgbClr val="004A87"/>
              </a:buClr>
              <a:defRPr/>
            </a:pPr>
            <a:r>
              <a:rPr lang="ru-RU" sz="1350" dirty="0">
                <a:latin typeface="Book Antiqua" panose="02040602050305030304" pitchFamily="18" charset="0"/>
              </a:rPr>
              <a:t>принимает решение во необходимости назначения препарата вне Перечней или по торговому наименованию</a:t>
            </a:r>
          </a:p>
        </p:txBody>
      </p:sp>
      <p:cxnSp>
        <p:nvCxnSpPr>
          <p:cNvPr id="24" name="Straight Arrow Connector 23"/>
          <p:cNvCxnSpPr/>
          <p:nvPr/>
        </p:nvCxnSpPr>
        <p:spPr>
          <a:xfrm>
            <a:off x="13658850" y="4281488"/>
            <a:ext cx="0" cy="262652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>
            <a:off x="12249151" y="3745707"/>
            <a:ext cx="39767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10" idx="1"/>
          </p:cNvCxnSpPr>
          <p:nvPr/>
        </p:nvCxnSpPr>
        <p:spPr>
          <a:xfrm>
            <a:off x="10110788" y="3745707"/>
            <a:ext cx="342900" cy="2286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5567363" y="3712370"/>
            <a:ext cx="290513" cy="952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V="1">
            <a:off x="7515225" y="3709988"/>
            <a:ext cx="83820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Скругленный прямоугольник 23"/>
          <p:cNvSpPr/>
          <p:nvPr/>
        </p:nvSpPr>
        <p:spPr>
          <a:xfrm>
            <a:off x="12956383" y="7105651"/>
            <a:ext cx="1697831" cy="842963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200">
                <a:latin typeface="Book Antiqua" panose="02040602050305030304" pitchFamily="18" charset="0"/>
              </a:rPr>
              <a:t>Закупка </a:t>
            </a:r>
            <a:br>
              <a:rPr lang="ru-RU" sz="1200">
                <a:latin typeface="Book Antiqua" panose="02040602050305030304" pitchFamily="18" charset="0"/>
              </a:rPr>
            </a:br>
            <a:r>
              <a:rPr lang="ru-RU" sz="1200">
                <a:latin typeface="Book Antiqua" panose="02040602050305030304" pitchFamily="18" charset="0"/>
              </a:rPr>
              <a:t>согласно 44-ФЗ</a:t>
            </a:r>
            <a:endParaRPr lang="ru-RU" sz="1050">
              <a:latin typeface="Book Antiqua" panose="02040602050305030304" pitchFamily="18" charset="0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 flipH="1" flipV="1">
            <a:off x="10777538" y="7517608"/>
            <a:ext cx="2193132" cy="476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Скругленный прямоугольник 23"/>
          <p:cNvSpPr/>
          <p:nvPr/>
        </p:nvSpPr>
        <p:spPr>
          <a:xfrm>
            <a:off x="7141370" y="7100888"/>
            <a:ext cx="1445418" cy="842963"/>
          </a:xfrm>
          <a:prstGeom prst="round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ts val="375"/>
              </a:spcBef>
              <a:buClr>
                <a:srgbClr val="004A87"/>
              </a:buClr>
              <a:defRPr/>
            </a:pPr>
            <a:r>
              <a:rPr lang="ru-RU" sz="1350">
                <a:latin typeface="Book Antiqua" panose="02040602050305030304" pitchFamily="18" charset="0"/>
              </a:rPr>
              <a:t>Поставка ЛП в регион</a:t>
            </a:r>
          </a:p>
        </p:txBody>
      </p:sp>
      <p:cxnSp>
        <p:nvCxnSpPr>
          <p:cNvPr id="38" name="Straight Arrow Connector 37"/>
          <p:cNvCxnSpPr>
            <a:stCxn id="18" idx="1"/>
            <a:endCxn id="37" idx="3"/>
          </p:cNvCxnSpPr>
          <p:nvPr/>
        </p:nvCxnSpPr>
        <p:spPr>
          <a:xfrm flipH="1">
            <a:off x="8586788" y="7522370"/>
            <a:ext cx="657225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>
            <a:stCxn id="37" idx="1"/>
            <a:endCxn id="19" idx="3"/>
          </p:cNvCxnSpPr>
          <p:nvPr/>
        </p:nvCxnSpPr>
        <p:spPr>
          <a:xfrm flipH="1">
            <a:off x="4643438" y="7522370"/>
            <a:ext cx="2497932" cy="952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3855245" y="6562725"/>
            <a:ext cx="0" cy="371475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135" name="Title 1"/>
          <p:cNvSpPr txBox="1">
            <a:spLocks/>
          </p:cNvSpPr>
          <p:nvPr/>
        </p:nvSpPr>
        <p:spPr bwMode="auto">
          <a:xfrm>
            <a:off x="1441847" y="260747"/>
            <a:ext cx="15766256" cy="171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br>
              <a:rPr lang="en-US" altLang="ru-RU" sz="3000" b="1" dirty="0">
                <a:solidFill>
                  <a:schemeClr val="tx2"/>
                </a:solidFill>
                <a:latin typeface="Calibri Light" panose="020F0302020204030204" pitchFamily="34" charset="0"/>
                <a:cs typeface="Arial" panose="020B0604020202020204" pitchFamily="34" charset="0"/>
              </a:rPr>
            </a:br>
            <a:br>
              <a:rPr lang="en-US" altLang="ru-RU" sz="3000" b="1" dirty="0">
                <a:solidFill>
                  <a:schemeClr val="tx2"/>
                </a:solidFill>
                <a:latin typeface="Calibri Light" panose="020F0302020204030204" pitchFamily="34" charset="0"/>
                <a:cs typeface="Arial" panose="020B0604020202020204" pitchFamily="34" charset="0"/>
              </a:rPr>
            </a:br>
            <a:r>
              <a:rPr lang="ru-RU" altLang="ru-RU" sz="3000" b="1" dirty="0">
                <a:solidFill>
                  <a:srgbClr val="AC0000"/>
                </a:solidFill>
                <a:latin typeface="Bookman Old Style" panose="02050604050505020204" pitchFamily="18" charset="0"/>
                <a:ea typeface="Book Antiqua" panose="02040602050305030304" pitchFamily="18" charset="0"/>
                <a:cs typeface="Book Antiqua" panose="02040602050305030304" pitchFamily="18" charset="0"/>
              </a:rPr>
              <a:t>Схема назначения ЛС по решению врачебной комиссии (не входящие в Перечни, стандарты, клинические рекомендации, по торговому наименованию)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2400" i="1" dirty="0">
              <a:solidFill>
                <a:schemeClr val="tx2"/>
              </a:solidFill>
              <a:latin typeface="Bookman Old Style" panose="02050604050505020204" pitchFamily="18" charset="0"/>
              <a:cs typeface="Arial" panose="020B0604020202020204" pitchFamily="34" charset="0"/>
            </a:endParaRPr>
          </a:p>
        </p:txBody>
      </p:sp>
      <p:pic>
        <p:nvPicPr>
          <p:cNvPr id="90136" name="Picture 2" descr="Картинки по запросу стоп знак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1345" y="2121695"/>
            <a:ext cx="828675" cy="82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37" name="Picture 2" descr="Картинки по запросу стоп зна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42133" y="2121695"/>
            <a:ext cx="859631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38" name="Picture 2" descr="Картинки по запросу стоп зна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6745" y="6543676"/>
            <a:ext cx="797718" cy="79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39" name="Picture 2" descr="Картинки по запросу стоп знак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468" y="1721529"/>
            <a:ext cx="826295" cy="82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140" name="TextBox 33"/>
          <p:cNvSpPr txBox="1">
            <a:spLocks noChangeArrowheads="1"/>
          </p:cNvSpPr>
          <p:nvPr/>
        </p:nvSpPr>
        <p:spPr bwMode="auto">
          <a:xfrm>
            <a:off x="4524376" y="5205413"/>
            <a:ext cx="3340895" cy="716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ru-RU" sz="1500" b="1">
                <a:solidFill>
                  <a:srgbClr val="C00000"/>
                </a:solidFill>
                <a:latin typeface="Book Antiqua" panose="020406020503050303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Объем закупаемых ЛС не должен превышать тот, который необходим пациенту в течение срока лечения</a:t>
            </a:r>
          </a:p>
        </p:txBody>
      </p:sp>
      <p:sp>
        <p:nvSpPr>
          <p:cNvPr id="46" name="Овал 38"/>
          <p:cNvSpPr/>
          <p:nvPr/>
        </p:nvSpPr>
        <p:spPr>
          <a:xfrm>
            <a:off x="3850483" y="4712495"/>
            <a:ext cx="500063" cy="516731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050" dirty="0">
                <a:solidFill>
                  <a:srgbClr val="FFFFFF"/>
                </a:solidFill>
                <a:latin typeface="Century" panose="02040604050505020304" pitchFamily="18" charset="0"/>
                <a:cs typeface="Aharoni" panose="02010803020104030203" pitchFamily="2" charset="-79"/>
              </a:rPr>
              <a:t>!</a:t>
            </a:r>
          </a:p>
        </p:txBody>
      </p:sp>
      <p:sp>
        <p:nvSpPr>
          <p:cNvPr id="90142" name="TextBox 40"/>
          <p:cNvSpPr txBox="1">
            <a:spLocks noChangeArrowheads="1"/>
          </p:cNvSpPr>
          <p:nvPr/>
        </p:nvSpPr>
        <p:spPr bwMode="auto">
          <a:xfrm rot="-1491784">
            <a:off x="3617120" y="7934325"/>
            <a:ext cx="1664493" cy="942975"/>
          </a:xfrm>
          <a:prstGeom prst="rect">
            <a:avLst/>
          </a:prstGeom>
          <a:solidFill>
            <a:schemeClr val="bg2">
              <a:alpha val="50195"/>
            </a:schemeClr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FontTx/>
              <a:buNone/>
            </a:pPr>
            <a:r>
              <a:rPr lang="ru-RU" altLang="ru-RU" sz="1500">
                <a:solidFill>
                  <a:srgbClr val="C00000"/>
                </a:solidFill>
                <a:latin typeface="Book Antiqua" panose="020406020503050303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«По решению врачебной комиссии»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B26728D-7A82-2446-A3FA-D2072A70C8BC}"/>
              </a:ext>
            </a:extLst>
          </p:cNvPr>
          <p:cNvSpPr/>
          <p:nvPr/>
        </p:nvSpPr>
        <p:spPr>
          <a:xfrm>
            <a:off x="1482086" y="8931623"/>
            <a:ext cx="1606986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ct val="0"/>
              </a:spcBef>
              <a:buNone/>
            </a:pPr>
            <a:r>
              <a:rPr lang="ru-RU" sz="1600" b="1" i="1" dirty="0">
                <a:solidFill>
                  <a:srgbClr val="22272F"/>
                </a:solidFill>
                <a:latin typeface="Book Antiqua" panose="02040602050305030304" pitchFamily="18" charset="0"/>
              </a:rPr>
              <a:t>На примере Распоряжения Департамента здравоохранения г. Москвы от 31 декабря 2015 г. </a:t>
            </a:r>
            <a:r>
              <a:rPr lang="en" sz="1600" b="1" i="1" dirty="0">
                <a:solidFill>
                  <a:srgbClr val="22272F"/>
                </a:solidFill>
                <a:latin typeface="Book Antiqua" panose="02040602050305030304" pitchFamily="18" charset="0"/>
              </a:rPr>
              <a:t>N 1452-</a:t>
            </a:r>
            <a:r>
              <a:rPr lang="ru-RU" sz="1600" b="1" i="1" dirty="0">
                <a:solidFill>
                  <a:srgbClr val="22272F"/>
                </a:solidFill>
                <a:latin typeface="Book Antiqua" panose="02040602050305030304" pitchFamily="18" charset="0"/>
              </a:rPr>
              <a:t>р "Об утверждении порядка индивидуального обеспечения отдельных категорий граждан, имеющих право на получение государственной социальной помощи, лекарственными препаратами при наличии медицинских показаний (индивидуальная непереносимость, по жизненным показаниям): не входящих в стандарты медицинской помощи; по торговым наименованиям, а также изделиями медицинского назначения»</a:t>
            </a:r>
          </a:p>
        </p:txBody>
      </p:sp>
    </p:spTree>
    <p:extLst>
      <p:ext uri="{BB962C8B-B14F-4D97-AF65-F5344CB8AC3E}">
        <p14:creationId xmlns:p14="http://schemas.microsoft.com/office/powerpoint/2010/main" val="29184580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>
          <a:blip r:embed="rId5"/>
          <a:stretch/>
        </p:blipFill>
        <p:spPr>
          <a:xfrm>
            <a:off x="1" y="10080"/>
            <a:ext cx="18288000" cy="10286640"/>
          </a:xfrm>
          <a:prstGeom prst="rect">
            <a:avLst/>
          </a:prstGeom>
          <a:ln w="0">
            <a:noFill/>
          </a:ln>
        </p:spPr>
      </p:pic>
      <p:sp>
        <p:nvSpPr>
          <p:cNvPr id="42" name="CustomShape 2"/>
          <p:cNvSpPr/>
          <p:nvPr/>
        </p:nvSpPr>
        <p:spPr>
          <a:xfrm>
            <a:off x="510675" y="3314160"/>
            <a:ext cx="17479440" cy="3071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8000"/>
              </a:lnSpc>
              <a:spcAft>
                <a:spcPts val="799"/>
              </a:spcAft>
            </a:pPr>
            <a:endParaRPr lang="ru-RU" sz="3600" b="1" strike="noStrike" spc="-1" dirty="0">
              <a:latin typeface="Arial"/>
            </a:endParaRPr>
          </a:p>
        </p:txBody>
      </p:sp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948288" y="1430022"/>
            <a:ext cx="2195680" cy="1842799"/>
          </a:xfrm>
          <a:prstGeom prst="rect">
            <a:avLst/>
          </a:prstGeom>
          <a:ln w="0">
            <a:noFill/>
          </a:ln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5004720" y="3528940"/>
            <a:ext cx="7904163" cy="26416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ru-RU" altLang="ru-RU" sz="1800" b="1" dirty="0">
                <a:solidFill>
                  <a:srgbClr val="C00000"/>
                </a:solidFill>
                <a:latin typeface="Bookman Old Style" panose="02050604050505020204" pitchFamily="18" charset="0"/>
              </a:rPr>
            </a:br>
            <a:br>
              <a:rPr lang="ru-RU" altLang="ru-RU" sz="20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br>
              <a:rPr lang="ru-RU" altLang="ru-RU" sz="2400" b="1" dirty="0">
                <a:solidFill>
                  <a:srgbClr val="990000"/>
                </a:solidFill>
                <a:latin typeface="Bookman Old Style" panose="02050604050505020204" pitchFamily="18" charset="0"/>
              </a:rPr>
            </a:br>
            <a:endParaRPr lang="en-US" altLang="en-US" sz="20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1369" y="3525852"/>
            <a:ext cx="15312980" cy="1150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sz="3000" b="1" dirty="0">
              <a:solidFill>
                <a:srgbClr val="0070C0"/>
              </a:solidFill>
              <a:latin typeface="Book Antiqua" panose="0204060205030503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3000" b="1" dirty="0">
                <a:solidFill>
                  <a:srgbClr val="0070C0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9034697" y="1379688"/>
            <a:ext cx="4468969" cy="875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r>
              <a:rPr kumimoji="1" lang="en-US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www.med-law.ru</a:t>
            </a:r>
            <a:r>
              <a:rPr kumimoji="1" lang="ru-RU" altLang="ru-RU" sz="2400" i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</a:p>
          <a:p>
            <a:pPr algn="r">
              <a:lnSpc>
                <a:spcPct val="100000"/>
              </a:lnSpc>
              <a:spcBef>
                <a:spcPct val="20000"/>
              </a:spcBef>
              <a:buClr>
                <a:srgbClr val="0000D4"/>
              </a:buClr>
              <a:buSzPct val="75000"/>
              <a:buFont typeface="Wingdings" panose="05000000000000000000" pitchFamily="2" charset="2"/>
              <a:buNone/>
            </a:pPr>
            <a:endParaRPr kumimoji="1" lang="ru-RU" altLang="ru-RU" sz="2400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C61A40B-CAF7-D942-8673-83FE31B9FAD5}"/>
              </a:ext>
            </a:extLst>
          </p:cNvPr>
          <p:cNvSpPr/>
          <p:nvPr/>
        </p:nvSpPr>
        <p:spPr>
          <a:xfrm>
            <a:off x="1404818" y="4046432"/>
            <a:ext cx="154553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/>
            <a:r>
              <a:rPr lang="ru-RU" sz="3600" dirty="0">
                <a:solidFill>
                  <a:srgbClr val="0070C0"/>
                </a:solidFill>
                <a:latin typeface="Bookman Old Style" panose="02050604050505020204" pitchFamily="18" charset="0"/>
                <a:ea typeface="Times New Roman" panose="02020603050405020304" pitchFamily="18" charset="0"/>
              </a:rPr>
              <a:t>Критерии качества и безопасности медицинской дея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27566322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328" y="339612"/>
            <a:ext cx="15771348" cy="1238865"/>
          </a:xfrm>
        </p:spPr>
        <p:txBody>
          <a:bodyPr>
            <a:normAutofit/>
          </a:bodyPr>
          <a:lstStyle/>
          <a:p>
            <a:pPr algn="r"/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онтроль (надзор)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 качества и безопасности медицинской деятельност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100945" y="1473667"/>
          <a:ext cx="16257157" cy="819512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22676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2000" b="1" dirty="0">
                          <a:latin typeface="Book Antiqua" panose="02040602050305030304" pitchFamily="18" charset="0"/>
                        </a:rPr>
                        <a:t>Федеральный государственный контроль (надзор) качества и безопасности медицинской деятельности</a:t>
                      </a: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2000" b="0" dirty="0">
                          <a:latin typeface="Book Antiqua" panose="02040602050305030304" pitchFamily="18" charset="0"/>
                        </a:rPr>
                        <a:t>Федеральной службой по надзору в сфере здравоохранения и ее территориальными органами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ru-RU" sz="2000" b="1" i="1" dirty="0">
                        <a:latin typeface="Book Antiqua" panose="02040602050305030304" pitchFamily="18" charset="0"/>
                      </a:endParaRP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2000" b="1" i="0" dirty="0">
                          <a:latin typeface="Book Antiqua" panose="02040602050305030304" pitchFamily="18" charset="0"/>
                        </a:rPr>
                        <a:t>Постановление Правительства РФ от 29 июня 2021 г. </a:t>
                      </a:r>
                      <a:r>
                        <a:rPr lang="ru-RU" sz="2000" b="1" i="0" dirty="0" err="1">
                          <a:latin typeface="Book Antiqua" panose="02040602050305030304" pitchFamily="18" charset="0"/>
                        </a:rPr>
                        <a:t>N</a:t>
                      </a:r>
                      <a:r>
                        <a:rPr lang="ru-RU" sz="2000" b="1" i="0" dirty="0">
                          <a:latin typeface="Book Antiqua" panose="02040602050305030304" pitchFamily="18" charset="0"/>
                        </a:rPr>
                        <a:t> 1048 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ru-RU" sz="2000" b="0" i="0" dirty="0">
                          <a:latin typeface="Book Antiqua" panose="02040602050305030304" pitchFamily="18" charset="0"/>
                        </a:rPr>
                        <a:t>"Об утверждении Положения о федеральном государственном контроле (надзоре) качества и безопасности медицинской деятельности" </a:t>
                      </a:r>
                      <a:endParaRPr lang="ru-RU" sz="2000" b="0" i="0" baseline="30000" dirty="0"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2131604">
                <a:tc>
                  <a:txBody>
                    <a:bodyPr/>
                    <a:lstStyle/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Ведомственный контроль качества и безопасности медицинской деятельности</a:t>
                      </a: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ми органами исполнительной власти, органами исполнительной власти субъектов Российской Федерации</a:t>
                      </a: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 </a:t>
                      </a:r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от 31 июля 2020 г. </a:t>
                      </a:r>
                      <a:r>
                        <a:rPr lang="en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787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</a:t>
                      </a:r>
                      <a:br>
                        <a:rPr lang="ru-RU" sz="2000" dirty="0">
                          <a:latin typeface="Book Antiqua" panose="02040602050305030304" pitchFamily="18" charset="0"/>
                        </a:rPr>
                      </a:b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"Об утверждении Порядка организации и проведения ведомственного контроля качества и безопасности медицинской деятельности"</a:t>
                      </a:r>
                      <a:endParaRPr lang="ru-RU" sz="2000" dirty="0"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  <a:tr h="2131604">
                <a:tc>
                  <a:txBody>
                    <a:bodyPr/>
                    <a:lstStyle/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Внутренний контроль качества и безопасности медицинской деятельности</a:t>
                      </a: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Органами, организациями государственной, муниципальной и частной систем здравоохранения </a:t>
                      </a:r>
                    </a:p>
                    <a:p>
                      <a:pPr algn="l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от 31 июля 2020 г. </a:t>
                      </a:r>
                      <a:r>
                        <a:rPr lang="en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785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</a:t>
                      </a:r>
                      <a:b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</a:b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"Об утверждении Требований к организации и проведению внутреннего контроля качества и безопасности медицинской деятельности"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1117147884"/>
                  </a:ext>
                </a:extLst>
              </a:tr>
              <a:tr h="1746319">
                <a:tc>
                  <a:txBody>
                    <a:bodyPr/>
                    <a:lstStyle/>
                    <a:p>
                      <a:pPr algn="l"/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Контроль объемов, сроков, качества и условий предоставления медицинской помощи  в сфере обязательного медицинского страхования</a:t>
                      </a: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раховыми медицинскими организациями, Федеральным фондом обязательного медицинского страхования и территориальными фондами обязательного медицинского страхования</a:t>
                      </a:r>
                    </a:p>
                    <a:p>
                      <a:pPr algn="l"/>
                      <a:endParaRPr lang="ru-RU" sz="2000" dirty="0">
                        <a:effectLst/>
                        <a:latin typeface="Book Antiqua" panose="02040602050305030304" pitchFamily="18" charset="0"/>
                      </a:endParaRPr>
                    </a:p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от 19 марта 2021 г. </a:t>
                      </a:r>
                      <a:r>
                        <a:rPr lang="en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231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 </a:t>
                      </a: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36397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95815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0929" y="339612"/>
            <a:ext cx="14827173" cy="1098354"/>
          </a:xfrm>
        </p:spPr>
        <p:txBody>
          <a:bodyPr>
            <a:normAutofit fontScale="90000"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</a:t>
            </a:r>
            <a:b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и клинических рекомендаций </a:t>
            </a:r>
            <a:endParaRPr lang="ru-RU" sz="31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057800"/>
              </p:ext>
            </p:extLst>
          </p:nvPr>
        </p:nvGraphicFramePr>
        <p:xfrm>
          <a:off x="1100945" y="1774078"/>
          <a:ext cx="16257157" cy="70749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49053">
                <a:tc>
                  <a:txBody>
                    <a:bodyPr/>
                    <a:lstStyle/>
                    <a:p>
                      <a:pPr marL="342900" indent="-342900" algn="l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й закон от 21 ноября 2011 г. </a:t>
                      </a:r>
                      <a:r>
                        <a:rPr lang="en" sz="20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 323-</a:t>
                      </a:r>
                      <a:r>
                        <a:rPr lang="ru-RU" sz="20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 "Об основах охраны здоровья граждан в Российской Федерации" </a:t>
                      </a:r>
                      <a:endParaRPr lang="ru-RU" sz="2000" b="0" dirty="0"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225903">
                <a:tc>
                  <a:txBody>
                    <a:bodyPr/>
                    <a:lstStyle/>
                    <a:p>
                      <a:r>
                        <a:rPr lang="en-US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C</a:t>
                      </a:r>
                      <a:r>
                        <a:rPr lang="ru-RU" sz="2000" b="1" i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татья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 10. Доступность и качество медицинской помощи</a:t>
                      </a:r>
                    </a:p>
                    <a:p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Доступность и качество медицинской помощи обеспечиваются 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(с 01 января 2022 года)</a:t>
                      </a:r>
                    </a:p>
                    <a:p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4) применением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рядков оказания медицинской помощи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линических рекомендаций и стандартов медицинской помощи</a:t>
                      </a:r>
                      <a:endParaRPr lang="en-US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US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тья 37. Организация оказания медицинской помощи</a:t>
                      </a:r>
                    </a:p>
                    <a:p>
                      <a:pPr algn="l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457200" indent="-457200">
                        <a:buAutoNum type="arabicPeriod"/>
                      </a:pP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Медицинская помощь, за исключением медицинской помощи, оказываемой в рамках клинической апробации, организуется и оказывается:</a:t>
                      </a:r>
                    </a:p>
                    <a:p>
                      <a:pPr marL="0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3) на основе 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линических рекомендаций </a:t>
                      </a:r>
                      <a:r>
                        <a:rPr lang="ru-RU" sz="2000" b="1" dirty="0">
                          <a:solidFill>
                            <a:srgbClr val="002060"/>
                          </a:solidFill>
                          <a:latin typeface="Book Antiqua" panose="02040602050305030304" pitchFamily="18" charset="0"/>
                        </a:rPr>
                        <a:t>Постановление Правительства РФ от 17 ноября 2021 г. </a:t>
                      </a:r>
                      <a:r>
                        <a:rPr lang="en" sz="2000" b="1" dirty="0">
                          <a:solidFill>
                            <a:srgbClr val="002060"/>
                          </a:solidFill>
                          <a:latin typeface="Book Antiqua" panose="02040602050305030304" pitchFamily="18" charset="0"/>
                        </a:rPr>
                        <a:t>N 1968</a:t>
                      </a:r>
                      <a:r>
                        <a:rPr lang="ru-RU" sz="2000" b="1" dirty="0">
                          <a:solidFill>
                            <a:srgbClr val="002060"/>
                          </a:solidFill>
                          <a:latin typeface="Book Antiqua" panose="02040602050305030304" pitchFamily="18" charset="0"/>
                        </a:rPr>
                        <a:t> </a:t>
                      </a:r>
                      <a:r>
                        <a:rPr lang="en" sz="2000" dirty="0">
                          <a:solidFill>
                            <a:srgbClr val="002060"/>
                          </a:solidFill>
                          <a:latin typeface="Book Antiqua" panose="02040602050305030304" pitchFamily="18" charset="0"/>
                        </a:rPr>
                        <a:t>"</a:t>
                      </a:r>
                      <a:r>
                        <a:rPr lang="ru-RU" sz="2000" dirty="0">
                          <a:solidFill>
                            <a:srgbClr val="002060"/>
                          </a:solidFill>
                          <a:latin typeface="Book Antiqua" panose="02040602050305030304" pitchFamily="18" charset="0"/>
                        </a:rPr>
                        <a:t>Об утверждении Правил поэтапного перехода медицинских организаций к оказанию медицинской помощи на основе клинических рекомендаций……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0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4)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 учетом стандартов  медицинской помощи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, утверждаемых уполномоченным федеральным органом исполнительной власти.</a:t>
                      </a:r>
                    </a:p>
                    <a:p>
                      <a:pPr algn="l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46273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629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22343886-9228-EA47-B74B-ACF6A8CED9A1}"/>
              </a:ext>
            </a:extLst>
          </p:cNvPr>
          <p:cNvSpPr txBox="1">
            <a:spLocks/>
          </p:cNvSpPr>
          <p:nvPr/>
        </p:nvSpPr>
        <p:spPr bwMode="auto">
          <a:xfrm>
            <a:off x="1547446" y="1738005"/>
            <a:ext cx="15541876" cy="5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Постановление Правительства РФ от 17 ноября 2021 г. </a:t>
            </a:r>
            <a:r>
              <a:rPr lang="en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N 1968</a:t>
            </a: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 </a:t>
            </a:r>
            <a:r>
              <a:rPr lang="en" sz="2000" dirty="0">
                <a:solidFill>
                  <a:srgbClr val="002060"/>
                </a:solidFill>
                <a:latin typeface="Book Antiqua" panose="02040602050305030304" pitchFamily="18" charset="0"/>
              </a:rPr>
              <a:t>"</a:t>
            </a:r>
            <a:r>
              <a:rPr lang="ru-RU" sz="2000" dirty="0">
                <a:solidFill>
                  <a:srgbClr val="002060"/>
                </a:solidFill>
                <a:latin typeface="Book Antiqua" panose="02040602050305030304" pitchFamily="18" charset="0"/>
              </a:rPr>
              <a:t>Об утверждении Правил поэтапного перехода медицинских организаций к оказанию медицинской помощи на основе клинических рекомендаций, разработанных и утвержденных в соответствии с частями 3, 4, 6 - 9 и 11 статьи 37 Федерального закона "Об основах охраны здоровья граждан в Российской Федерации"</a:t>
            </a:r>
            <a:endParaRPr lang="ru-RU" altLang="ru-RU" sz="2000" b="1" dirty="0">
              <a:solidFill>
                <a:srgbClr val="0070C0"/>
              </a:solidFill>
              <a:latin typeface="Book Antiqua" panose="02040602050305030304" pitchFamily="18" charset="0"/>
            </a:endParaRPr>
          </a:p>
          <a:p>
            <a:pPr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Клинические рекомендации применяются следующим образом: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Министерства здравоохранения Российской Федерации в информационно-телекоммуникационной сети "Интернет" (далее - официальный сайт) до 1 сентября 2021 г., применяются с 1 января 2022 г.;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до 1 июня 2022 г., применяются с 1 января 2023 г.;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после 1 июня 2022 г., применяются с 1 января 2024 г.</a:t>
            </a:r>
          </a:p>
          <a:p>
            <a:pPr>
              <a:buNone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Учет клинических рекомендаций осуществляется следующим образом: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до 1 июня 2022 г., учитываются при формировании программы государственных гарантий бесплатного оказания гражданам медицинской помощи на 2023 год и на плановый период 2024 и 2025 годов;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до 1 июня 2023 г., учитываются при формировании программы государственных гарантий бесплатного оказания гражданам медицинской помощи на 2024 год и на плановый период 2025 и 2026 годов;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ru-RU" sz="2000" dirty="0">
                <a:latin typeface="Book Antiqua" panose="02040602050305030304" pitchFamily="18" charset="0"/>
              </a:rPr>
              <a:t>клинические рекомендации, размещенные на официальном сайте после 1 июня 2023 г., учитываются при формировании программы государственных гарантий бесплатного оказания гражданам медицинской помощи начиная с 1 января 2024 г.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None/>
              <a:defRPr/>
            </a:pPr>
            <a:endParaRPr lang="ru-RU" altLang="ru-RU" sz="2200" b="1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1E46F5D-EFDD-B945-B76B-29B0587D9202}"/>
              </a:ext>
            </a:extLst>
          </p:cNvPr>
          <p:cNvSpPr txBox="1">
            <a:spLocks/>
          </p:cNvSpPr>
          <p:nvPr/>
        </p:nvSpPr>
        <p:spPr bwMode="auto">
          <a:xfrm>
            <a:off x="7176636" y="551788"/>
            <a:ext cx="8788967" cy="815509"/>
          </a:xfrm>
          <a:prstGeom prst="rect">
            <a:avLst/>
          </a:prstGeom>
          <a:solidFill>
            <a:srgbClr val="0070C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 dirty="0">
                <a:solidFill>
                  <a:schemeClr val="bg1"/>
                </a:solidFill>
                <a:latin typeface="Bookman Old Style" panose="02050604050505020204" pitchFamily="18" charset="0"/>
              </a:rPr>
              <a:t>РОЛЬ КЛИНИЧЕСКИХ РЕКОМЕНДАЦИЙ В ОЦЕНКЕ КАЧЕСТВА МЕДИЦИНСКОЙ ПОМОЩИ</a:t>
            </a:r>
          </a:p>
        </p:txBody>
      </p:sp>
    </p:spTree>
    <p:extLst>
      <p:ext uri="{BB962C8B-B14F-4D97-AF65-F5344CB8AC3E}">
        <p14:creationId xmlns:p14="http://schemas.microsoft.com/office/powerpoint/2010/main" val="129394796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0513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 txBox="1">
            <a:spLocks/>
          </p:cNvSpPr>
          <p:nvPr/>
        </p:nvSpPr>
        <p:spPr>
          <a:xfrm>
            <a:off x="5004719" y="955824"/>
            <a:ext cx="10115078" cy="8259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ru-RU" sz="28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1D9703-DE8D-503C-E410-F753D0483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622" y="778438"/>
            <a:ext cx="12550721" cy="1344275"/>
          </a:xfrm>
        </p:spPr>
        <p:txBody>
          <a:bodyPr>
            <a:normAutofit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27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и клинических рекомендаций </a:t>
            </a:r>
            <a:endParaRPr lang="ru-RU" sz="27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A7ACE01-2853-5729-FD27-92E6DA86DEBB}"/>
              </a:ext>
            </a:extLst>
          </p:cNvPr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0477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" name="Объект 6">
            <a:extLst>
              <a:ext uri="{FF2B5EF4-FFF2-40B4-BE49-F238E27FC236}">
                <a16:creationId xmlns:a16="http://schemas.microsoft.com/office/drawing/2014/main" id="{57CD8D59-CD2F-919C-9F88-3D3BBEA537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1813" y="2138111"/>
            <a:ext cx="5960803" cy="7724020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D4EA5AB-F025-3757-FEE6-875D06389BA7}"/>
              </a:ext>
            </a:extLst>
          </p:cNvPr>
          <p:cNvSpPr txBox="1">
            <a:spLocks/>
          </p:cNvSpPr>
          <p:nvPr/>
        </p:nvSpPr>
        <p:spPr>
          <a:xfrm>
            <a:off x="1639223" y="683380"/>
            <a:ext cx="14330120" cy="1098354"/>
          </a:xfrm>
          <a:prstGeom prst="rect">
            <a:avLst/>
          </a:prstGeom>
        </p:spPr>
        <p:txBody>
          <a:bodyPr lIns="0" tIns="0" rIns="0" bIns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29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</a:t>
            </a:r>
          </a:p>
          <a:p>
            <a:pPr algn="r"/>
            <a:r>
              <a:rPr lang="ru-RU" sz="29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и клинических рекомендаций </a:t>
            </a:r>
            <a:endParaRPr lang="ru-RU" sz="29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98AEE4C-4A4C-76BD-EC16-F9A4A15FB10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3982" y="2479875"/>
            <a:ext cx="5960803" cy="7382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654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6879911"/>
              </p:ext>
            </p:extLst>
          </p:nvPr>
        </p:nvGraphicFramePr>
        <p:xfrm>
          <a:off x="1100945" y="1774078"/>
          <a:ext cx="16257157" cy="696903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07615">
                <a:tc>
                  <a:txBody>
                    <a:bodyPr/>
                    <a:lstStyle/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«Об утверждении порядка разработки стандартов медицинской помощи» от 22 февраля 2022 г.№ 103н (вступил в силу с 17 июня 2022)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161423">
                <a:tc>
                  <a:txBody>
                    <a:bodyPr/>
                    <a:lstStyle/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рядок разработки стандартов медицинской помощи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ндарт медицинской помощи разрабатывается на основе клинических рекомендаций, одобренных и утвержденных в установленном порядке</a:t>
                      </a: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ормирование проекта стандарта медицинской помощи осуществляется на основе соответствующей клинической рекомендации</a:t>
                      </a: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Включение лекарственных препаратов в проект стандарта осуществляется в соответствии с инструкцией по медицинскому применению и при наличии в соответствующей клинической рекомендации тезиса-рекомендации по их применению</a:t>
                      </a: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§"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дготовка предложений в проект стандарта медицинской помощи осуществляется на основе…..клинических рекомендаций 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1AE5D09-57E5-6701-3498-31C6D083F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2200" y="339612"/>
            <a:ext cx="14825419" cy="1098354"/>
          </a:xfrm>
        </p:spPr>
        <p:txBody>
          <a:bodyPr>
            <a:normAutofit fontScale="90000"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</a:t>
            </a:r>
            <a:b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и клинических рекомендаций </a:t>
            </a:r>
            <a:endParaRPr lang="ru-RU" sz="31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3641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1096253"/>
              </p:ext>
            </p:extLst>
          </p:nvPr>
        </p:nvGraphicFramePr>
        <p:xfrm>
          <a:off x="1100945" y="1774078"/>
          <a:ext cx="16257157" cy="70749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49053">
                <a:tc>
                  <a:txBody>
                    <a:bodyPr/>
                    <a:lstStyle/>
                    <a:p>
                      <a:pPr marL="342900" indent="-342900" algn="l">
                        <a:buFont typeface="Wingdings" pitchFamily="2" charset="2"/>
                        <a:buChar char="§"/>
                      </a:pP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й закон от 21 ноября 2011 г. </a:t>
                      </a:r>
                      <a:r>
                        <a:rPr lang="en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 323-</a:t>
                      </a: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 "Об основах охраны здоровья граждан в Российской Федерации" </a:t>
                      </a:r>
                      <a:endParaRPr lang="ru-RU" sz="2200" b="0" dirty="0"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225903">
                <a:tc>
                  <a:txBody>
                    <a:bodyPr/>
                    <a:lstStyle/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тья 79. Обязанности медицинских организаций</a:t>
                      </a:r>
                    </a:p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1. Медицинская организация обязана:</a:t>
                      </a:r>
                    </a:p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2) организовывать и осуществлять медицинскую деятельность в соответствии с законодательными и иными нормативными правовыми актами Российской Федерации, в том числе порядками оказания медицинской помощи, и с учетом стандартов медицинской помощи;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Часть 1 дополнена пунктом 2.1 с 1 января 2022 г. - 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  <a:hlinkClick r:id="rId3"/>
                        </a:rPr>
                        <a:t>Федеральный закон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 от 25 декабря 2018 г. </a:t>
                      </a:r>
                      <a:r>
                        <a:rPr lang="en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 489-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</a:t>
                      </a:r>
                    </a:p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2.1) обеспечивать оказание медицинскими работниками медицинской помощи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а основе клинических рекомендаций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, а также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оздавать условия, обеспечивающие соответствие оказываемой медицинской помощи критериям оценки качества медицинской помощи;</a:t>
                      </a:r>
                    </a:p>
                    <a:p>
                      <a:pPr algn="l"/>
                      <a:endParaRPr lang="ru-RU" sz="22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C46AA18-BCB6-E213-A314-9B9EF7838795}"/>
              </a:ext>
            </a:extLst>
          </p:cNvPr>
          <p:cNvSpPr txBox="1">
            <a:spLocks/>
          </p:cNvSpPr>
          <p:nvPr/>
        </p:nvSpPr>
        <p:spPr>
          <a:xfrm>
            <a:off x="6270170" y="339612"/>
            <a:ext cx="10917449" cy="853757"/>
          </a:xfrm>
          <a:prstGeom prst="rect">
            <a:avLst/>
          </a:prstGeom>
        </p:spPr>
        <p:txBody>
          <a:bodyPr vert="horz" lIns="0" tIns="0" rIns="0" bIns="0" anchor="ctr"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7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Объем медицинской помощи в соответствии с программой государственных гарантий</a:t>
            </a:r>
          </a:p>
        </p:txBody>
      </p:sp>
    </p:spTree>
    <p:extLst>
      <p:ext uri="{BB962C8B-B14F-4D97-AF65-F5344CB8AC3E}">
        <p14:creationId xmlns:p14="http://schemas.microsoft.com/office/powerpoint/2010/main" val="22190392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9647653"/>
              </p:ext>
            </p:extLst>
          </p:nvPr>
        </p:nvGraphicFramePr>
        <p:xfrm>
          <a:off x="1100945" y="1774078"/>
          <a:ext cx="16257157" cy="70035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3646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й закон от 21 ноября 2011 г. </a:t>
                      </a:r>
                      <a:r>
                        <a:rPr lang="en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323-</a:t>
                      </a: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 "Об основах охраны здоровья граждан в Российской Федерации"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067039">
                <a:tc>
                  <a:txBody>
                    <a:bodyPr/>
                    <a:lstStyle/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тья 80. Программа государственных гарантий бесплатного оказания гражданам медицинской помощи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dirty="0">
                          <a:effectLst/>
                          <a:latin typeface="Book Antiqua" panose="02040602050305030304" pitchFamily="18" charset="0"/>
                        </a:rPr>
                        <a:t>3. При оказании </a:t>
                      </a:r>
                      <a:r>
                        <a:rPr lang="ru-RU" sz="2000" b="0" i="0" dirty="0">
                          <a:effectLst/>
                          <a:latin typeface="Book Antiqua" panose="02040602050305030304" pitchFamily="18" charset="0"/>
                        </a:rPr>
                        <a:t>медицинской</a:t>
                      </a:r>
                      <a:r>
                        <a:rPr lang="ru-RU" sz="2000" b="0" dirty="0">
                          <a:effectLst/>
                          <a:latin typeface="Book Antiqua" panose="02040602050305030304" pitchFamily="18" charset="0"/>
                        </a:rPr>
                        <a:t> помощи в рамках программы государственных гарантий бесплатного оказания гражданам </a:t>
                      </a:r>
                      <a:r>
                        <a:rPr lang="ru-RU" sz="2000" b="0" i="0" dirty="0">
                          <a:effectLst/>
                          <a:latin typeface="Book Antiqua" panose="02040602050305030304" pitchFamily="18" charset="0"/>
                        </a:rPr>
                        <a:t>медицинской</a:t>
                      </a:r>
                      <a:r>
                        <a:rPr lang="ru-RU" sz="2000" b="0" dirty="0">
                          <a:effectLst/>
                          <a:latin typeface="Book Antiqua" panose="02040602050305030304" pitchFamily="18" charset="0"/>
                        </a:rPr>
                        <a:t> помощи и территориальных программ государственных гарантий бесплатного оказания гражданам </a:t>
                      </a:r>
                      <a:r>
                        <a:rPr lang="ru-RU" sz="2000" b="0" i="0" dirty="0">
                          <a:effectLst/>
                          <a:latin typeface="Book Antiqua" panose="02040602050305030304" pitchFamily="18" charset="0"/>
                        </a:rPr>
                        <a:t>медицинской</a:t>
                      </a:r>
                      <a:r>
                        <a:rPr lang="ru-RU" sz="2000" b="0" dirty="0">
                          <a:effectLst/>
                          <a:latin typeface="Book Antiqua" panose="02040602050305030304" pitchFamily="18" charset="0"/>
                        </a:rPr>
                        <a:t> помощи не подлежат оплате за счет личных средств граждан:</a:t>
                      </a:r>
                    </a:p>
                    <a:p>
                      <a:pPr algn="just"/>
                      <a:endParaRPr lang="ru-RU" sz="2000" b="0" dirty="0">
                        <a:effectLst/>
                        <a:latin typeface="Book Antiqua" panose="02040602050305030304" pitchFamily="18" charset="0"/>
                      </a:endParaRPr>
                    </a:p>
                    <a:p>
                      <a:pPr algn="just"/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1) 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оказание </a:t>
                      </a:r>
                      <a:r>
                        <a:rPr lang="ru-RU" sz="2000" b="1" i="0" dirty="0">
                          <a:effectLst/>
                          <a:latin typeface="Book Antiqua" panose="02040602050305030304" pitchFamily="18" charset="0"/>
                        </a:rPr>
                        <a:t>медицинских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 услуг, назначение и применение лекарственных препаратов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, включенных в </a:t>
                      </a:r>
                      <a:r>
                        <a:rPr lang="ru-RU" sz="200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  <a:hlinkClick r:id="rId3"/>
                        </a:rPr>
                        <a:t>перечень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 жизненно необходимых и важнейших лекарственных препаратов, </a:t>
                      </a:r>
                      <a:r>
                        <a:rPr lang="ru-RU" sz="2000" i="0" dirty="0">
                          <a:effectLst/>
                          <a:latin typeface="Book Antiqua" panose="02040602050305030304" pitchFamily="18" charset="0"/>
                        </a:rPr>
                        <a:t>медицинских 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изделий, включенных в перечень </a:t>
                      </a:r>
                      <a:r>
                        <a:rPr lang="ru-RU" sz="2000" i="0" dirty="0">
                          <a:effectLst/>
                          <a:latin typeface="Book Antiqua" panose="02040602050305030304" pitchFamily="18" charset="0"/>
                        </a:rPr>
                        <a:t>медицинских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 изделий, имплантируемых в организм человека, компонентов крови, лечебного питания, в том числе специализированных продуктов лечебного питания, по </a:t>
                      </a:r>
                      <a:r>
                        <a:rPr lang="ru-RU" sz="2000" i="0" dirty="0">
                          <a:effectLst/>
                          <a:latin typeface="Book Antiqua" panose="02040602050305030304" pitchFamily="18" charset="0"/>
                        </a:rPr>
                        <a:t>медицинским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 показаниям 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на </a:t>
                      </a:r>
                      <a:r>
                        <a:rPr lang="ru-RU" sz="2000" b="1" i="0" dirty="0">
                          <a:effectLst/>
                          <a:latin typeface="Book Antiqua" panose="02040602050305030304" pitchFamily="18" charset="0"/>
                        </a:rPr>
                        <a:t>основе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 клинических рекомендаций и с учетом стандартов </a:t>
                      </a:r>
                      <a:r>
                        <a:rPr lang="ru-RU" sz="2000" b="1" i="0" dirty="0">
                          <a:effectLst/>
                          <a:latin typeface="Book Antiqua" panose="02040602050305030304" pitchFamily="18" charset="0"/>
                        </a:rPr>
                        <a:t>медицинской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 помощи</a:t>
                      </a:r>
                    </a:p>
                    <a:p>
                      <a:endParaRPr lang="ru-RU" sz="2400" dirty="0">
                        <a:effectLst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1AE5D09-57E5-6701-3498-31C6D083F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00" y="339612"/>
            <a:ext cx="14749221" cy="1098354"/>
          </a:xfrm>
        </p:spPr>
        <p:txBody>
          <a:bodyPr>
            <a:normAutofit fontScale="90000"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</a:t>
            </a:r>
            <a:b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и клинических рекомендаций </a:t>
            </a:r>
            <a:endParaRPr lang="ru-RU" sz="31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2179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-14761"/>
            <a:ext cx="1828800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487837" y="2076773"/>
            <a:ext cx="15451810" cy="4908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Льготное лекарственное обеспечение больных сердечно-сосудистыми заболеваниями</a:t>
            </a:r>
            <a:r>
              <a:rPr lang="en-US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 (</a:t>
            </a: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Федеральные нормативные акты)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dirty="0">
              <a:solidFill>
                <a:srgbClr val="C00000"/>
              </a:solidFill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i="1" dirty="0">
                <a:latin typeface="Book Antiqua" panose="02040602050305030304" pitchFamily="18" charset="0"/>
              </a:rPr>
              <a:t>Сохраняются проблемы с обеспечением населения лекарственными препаратами, в том числе льготных категорий граждан. Для их решения требуется совершенствование организационных процессов, в том числе внедрение системы мониторинга движения лекарственных препаратов во всех медицинских и фармацевтических организациях.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остановление Правительства РФ от 26 декабря 2017 г. </a:t>
            </a:r>
            <a:r>
              <a:rPr lang="en" sz="2000" b="1" dirty="0">
                <a:latin typeface="Book Antiqua" panose="02040602050305030304" pitchFamily="18" charset="0"/>
              </a:rPr>
              <a:t>N 1640 </a:t>
            </a:r>
            <a:r>
              <a:rPr lang="en" sz="2000" dirty="0">
                <a:latin typeface="Book Antiqua" panose="02040602050305030304" pitchFamily="18" charset="0"/>
              </a:rPr>
              <a:t>"</a:t>
            </a:r>
            <a:r>
              <a:rPr lang="ru-RU" sz="2000" dirty="0">
                <a:latin typeface="Book Antiqua" panose="02040602050305030304" pitchFamily="18" charset="0"/>
              </a:rPr>
              <a:t>Об утверждении государственной программы Российской Федерации "Развитие здравоохранения»</a:t>
            </a:r>
            <a:endParaRPr lang="en-US" sz="2000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остановление Правительства РФ от 24 декабря 2021 г. </a:t>
            </a:r>
            <a:r>
              <a:rPr lang="ru-RU" sz="2000" b="1" dirty="0" err="1">
                <a:latin typeface="Book Antiqua" panose="02040602050305030304" pitchFamily="18" charset="0"/>
              </a:rPr>
              <a:t>N</a:t>
            </a:r>
            <a:r>
              <a:rPr lang="ru-RU" sz="2000" b="1" dirty="0">
                <a:latin typeface="Book Antiqua" panose="02040602050305030304" pitchFamily="18" charset="0"/>
              </a:rPr>
              <a:t> 2462 </a:t>
            </a:r>
            <a:r>
              <a:rPr lang="ru-RU" sz="2000" dirty="0">
                <a:latin typeface="Book Antiqua" panose="02040602050305030304" pitchFamily="18" charset="0"/>
              </a:rPr>
              <a:t>"О внесении изменений в государственную программу Российской Федерации "Развитие здравоохранения"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равила предоставления и распределения субсидий из федерального бюджета бюджетам субъектов Российской Федерации на обеспечение профилактики развития сердечно-сосудистых заболеваний и сердечно-сосудистых осложнений у пациентов высокого риска, находящихся на диспансерном наблюдении,</a:t>
            </a:r>
            <a:r>
              <a:rPr lang="ru-RU" sz="2000" dirty="0">
                <a:latin typeface="Book Antiqua" panose="02040602050305030304" pitchFamily="18" charset="0"/>
              </a:rPr>
              <a:t> представлены в приложении </a:t>
            </a:r>
            <a:r>
              <a:rPr lang="ru-RU" sz="2000" dirty="0" err="1">
                <a:latin typeface="Book Antiqua" panose="02040602050305030304" pitchFamily="18" charset="0"/>
              </a:rPr>
              <a:t>N</a:t>
            </a:r>
            <a:r>
              <a:rPr lang="ru-RU" sz="2000" dirty="0">
                <a:latin typeface="Book Antiqua" panose="02040602050305030304" pitchFamily="18" charset="0"/>
              </a:rPr>
              <a:t> 8.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равила устанавливают цели, условия и порядок предоставления и распределения субсидий из федерального бюджета бюджетам субъектов Российской Федерации</a:t>
            </a:r>
            <a:r>
              <a:rPr lang="ru-RU" sz="2000" dirty="0">
                <a:latin typeface="Book Antiqua" panose="02040602050305030304" pitchFamily="18" charset="0"/>
              </a:rPr>
              <a:t> в целях </a:t>
            </a:r>
            <a:r>
              <a:rPr lang="ru-RU" sz="2000" dirty="0" err="1">
                <a:latin typeface="Book Antiqua" panose="02040602050305030304" pitchFamily="18" charset="0"/>
              </a:rPr>
              <a:t>софинансирования</a:t>
            </a:r>
            <a:r>
              <a:rPr lang="ru-RU" sz="2000" dirty="0">
                <a:latin typeface="Book Antiqua" panose="02040602050305030304" pitchFamily="18" charset="0"/>
              </a:rPr>
              <a:t> расходных обязательств субъектов Российской Федерации, возникающих при реализации региональных проектов по обеспечению в амбулаторных условиях лекарственными препаратами лиц, находящихся под диспансерным наблюдением, которые перенесли </a:t>
            </a:r>
            <a:r>
              <a:rPr lang="en-US" sz="2000" dirty="0">
                <a:latin typeface="Book Antiqua" panose="02040602050305030304" pitchFamily="18" charset="0"/>
              </a:rPr>
              <a:t> </a:t>
            </a:r>
            <a:r>
              <a:rPr lang="ru-RU" sz="2000" b="1" dirty="0">
                <a:latin typeface="Book Antiqua" panose="02040602050305030304" pitchFamily="18" charset="0"/>
              </a:rPr>
              <a:t>острое нарушение мозгового кровообращения, инфаркт миокарда, а также которым выполнены аортокоронарное шунтирование, </a:t>
            </a:r>
            <a:r>
              <a:rPr lang="ru-RU" sz="2000" b="1" dirty="0" err="1">
                <a:latin typeface="Book Antiqua" panose="02040602050305030304" pitchFamily="18" charset="0"/>
              </a:rPr>
              <a:t>ангиопластика</a:t>
            </a:r>
            <a:r>
              <a:rPr lang="ru-RU" sz="2000" b="1" dirty="0">
                <a:latin typeface="Book Antiqua" panose="02040602050305030304" pitchFamily="18" charset="0"/>
              </a:rPr>
              <a:t> коронарных артерий со </a:t>
            </a:r>
            <a:r>
              <a:rPr lang="ru-RU" sz="2000" b="1" dirty="0" err="1">
                <a:latin typeface="Book Antiqua" panose="02040602050305030304" pitchFamily="18" charset="0"/>
              </a:rPr>
              <a:t>стентированием</a:t>
            </a:r>
            <a:r>
              <a:rPr lang="ru-RU" sz="2000" b="1" dirty="0">
                <a:latin typeface="Book Antiqua" panose="02040602050305030304" pitchFamily="18" charset="0"/>
              </a:rPr>
              <a:t> и </a:t>
            </a:r>
            <a:r>
              <a:rPr lang="ru-RU" sz="2000" b="1" dirty="0" err="1">
                <a:latin typeface="Book Antiqua" panose="02040602050305030304" pitchFamily="18" charset="0"/>
              </a:rPr>
              <a:t>катетерная</a:t>
            </a:r>
            <a:r>
              <a:rPr lang="ru-RU" sz="2000" b="1" dirty="0">
                <a:latin typeface="Book Antiqua" panose="02040602050305030304" pitchFamily="18" charset="0"/>
              </a:rPr>
              <a:t> абляция по поводу сердечно-сосудистых заболеваний</a:t>
            </a:r>
            <a:r>
              <a:rPr lang="ru-RU" sz="2000" dirty="0">
                <a:latin typeface="Book Antiqua" panose="02040602050305030304" pitchFamily="18" charset="0"/>
              </a:rPr>
              <a:t>, обеспечивающих достижение показателей и результатов Федерального проекта "Борьба с сердечно-сосудистыми заболеваниями" национального проекта "Здравоохранение" </a:t>
            </a:r>
            <a:endParaRPr lang="ru-RU" altLang="ru-RU" sz="2000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endParaRPr lang="ru-RU" altLang="ru-RU" sz="2000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algn="just">
              <a:spcAft>
                <a:spcPts val="600"/>
              </a:spcAft>
              <a:buClr>
                <a:srgbClr val="000000"/>
              </a:buClr>
              <a:buSzPts val="1800"/>
              <a:buFont typeface="Wingdings" panose="05000000000000000000" pitchFamily="2" charset="2"/>
              <a:buChar char="ü"/>
            </a:pPr>
            <a:endParaRPr lang="ru-RU" altLang="ru-RU" sz="2000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83806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5190249"/>
              </p:ext>
            </p:extLst>
          </p:nvPr>
        </p:nvGraphicFramePr>
        <p:xfrm>
          <a:off x="1100945" y="1774078"/>
          <a:ext cx="16257157" cy="686228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95244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й закон от 21 ноября 2011 г. </a:t>
                      </a:r>
                      <a:r>
                        <a:rPr lang="en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323-</a:t>
                      </a: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 "Об основах охраны здоровья граждан в Российской Федерации»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067039">
                <a:tc>
                  <a:txBody>
                    <a:bodyPr/>
                    <a:lstStyle/>
                    <a:p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тья 81. Территориальная программа государственных гарантий бесплатного оказания гражданам медицинской помощи</a:t>
                      </a: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4. При  формировании территориальной программы государственных гарантий бесплатного оказания гражданам медицинской помощи учитываются:</a:t>
                      </a:r>
                    </a:p>
                    <a:p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1) порядки оказания медицинской помощи и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ндарты медицинской помощи;</a:t>
                      </a:r>
                    </a:p>
                    <a:p>
                      <a:pPr algn="just">
                        <a:buNone/>
                      </a:pPr>
                      <a:endParaRPr lang="ru-RU" sz="20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Постановление Правительства РФ от 28 декабря 2021 г. </a:t>
                      </a:r>
                      <a:r>
                        <a:rPr lang="en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N 2505 "</a:t>
                      </a: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О Программе государственных гарантий бесплатного оказания гражданам медицинской помощи на 2022 год и на плановый период 2023 и 2024 годов"</a:t>
                      </a:r>
                    </a:p>
                    <a:p>
                      <a:pPr algn="just">
                        <a:buNone/>
                      </a:pPr>
                      <a:endParaRPr lang="ru-RU" sz="20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При формировании территориальной программы государственных гарантий учитываются:</a:t>
                      </a:r>
                    </a:p>
                    <a:p>
                      <a:pPr algn="just">
                        <a:buNone/>
                      </a:pPr>
                      <a:endParaRPr lang="ru-RU" sz="20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ü"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порядки оказания медицинской помощи</a:t>
                      </a:r>
                    </a:p>
                    <a:p>
                      <a:pPr marL="342900" indent="-342900" algn="just">
                        <a:buFont typeface="Wingdings" pitchFamily="2" charset="2"/>
                        <a:buChar char="ü"/>
                      </a:pPr>
                      <a:endParaRPr lang="ru-RU" sz="2000" dirty="0">
                        <a:solidFill>
                          <a:schemeClr val="tx1"/>
                        </a:solidFill>
                        <a:latin typeface="Book Antiqua" panose="02040602050305030304" pitchFamily="18" charset="0"/>
                      </a:endParaRPr>
                    </a:p>
                    <a:p>
                      <a:pPr marL="342900" indent="-342900" algn="just">
                        <a:buFont typeface="Wingdings" pitchFamily="2" charset="2"/>
                        <a:buChar char="ü"/>
                      </a:pPr>
                      <a:r>
                        <a:rPr lang="ru-RU" sz="2000" b="1" dirty="0">
                          <a:solidFill>
                            <a:schemeClr val="tx1"/>
                          </a:solidFill>
                          <a:latin typeface="Book Antiqua" panose="02040602050305030304" pitchFamily="18" charset="0"/>
                        </a:rPr>
                        <a:t>стандарты медицинской помощи и клинические рекомендации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endParaRPr lang="ru-RU" sz="2000" dirty="0">
                        <a:effectLst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1AE5D09-57E5-6701-3498-31C6D083F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1" y="339612"/>
            <a:ext cx="14901620" cy="1098354"/>
          </a:xfrm>
        </p:spPr>
        <p:txBody>
          <a:bodyPr>
            <a:normAutofit fontScale="90000"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Правовой статус стандартов медицинской помощи </a:t>
            </a:r>
            <a:b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31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и клинических рекомендаций </a:t>
            </a:r>
            <a:endParaRPr lang="ru-RU" sz="3100" b="1" dirty="0">
              <a:solidFill>
                <a:srgbClr val="0070C0"/>
              </a:solidFill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6318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328" y="339612"/>
            <a:ext cx="15929292" cy="853757"/>
          </a:xfrm>
        </p:spPr>
        <p:txBody>
          <a:bodyPr>
            <a:normAutofit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качества медицинской помощ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734921"/>
              </p:ext>
            </p:extLst>
          </p:nvPr>
        </p:nvGraphicFramePr>
        <p:xfrm>
          <a:off x="1100945" y="1774078"/>
          <a:ext cx="16257157" cy="707495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02997">
                <a:tc>
                  <a:txBody>
                    <a:bodyPr/>
                    <a:lstStyle/>
                    <a:p>
                      <a:pPr marL="342900" indent="-342900" algn="l">
                        <a:buFont typeface="Wingdings" pitchFamily="2" charset="2"/>
                        <a:buChar char="§"/>
                      </a:pP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едеральный закон от 21 ноября 2011 г. </a:t>
                      </a:r>
                      <a:r>
                        <a:rPr lang="en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 323-</a:t>
                      </a:r>
                      <a:r>
                        <a:rPr lang="ru-RU" sz="2200" b="0" i="0" u="none" strike="noStrike" kern="1200" dirty="0">
                          <a:solidFill>
                            <a:schemeClr val="lt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ФЗ "Об основах охраны здоровья граждан в Российской Федерации" </a:t>
                      </a:r>
                      <a:endParaRPr lang="ru-RU" sz="2200" b="0" dirty="0"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2437665">
                <a:tc>
                  <a:txBody>
                    <a:bodyPr/>
                    <a:lstStyle/>
                    <a:p>
                      <a:pPr algn="l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тья 64. Экспертиза качества медицинской помощи</a:t>
                      </a:r>
                    </a:p>
                    <a:p>
                      <a:pPr algn="l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Экспертиза качества медицинской помощи проводится в целях выявления нарушений при оказании медицинской помощи, в том числе оценки своевременности ее оказания, правильности выбора методов профилактики, диагностики, лечения и реабилитации, степени достижения запланированного результата</a:t>
                      </a:r>
                    </a:p>
                    <a:p>
                      <a:pPr algn="l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  <a:tr h="1676975">
                <a:tc>
                  <a:txBody>
                    <a:bodyPr/>
                    <a:lstStyle/>
                    <a:p>
                      <a:pPr algn="l"/>
                      <a:r>
                        <a:rPr lang="ru-RU" sz="20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ритерии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 оценки качества 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медицинской помощи формируются по группам заболеваний или состояний на </a:t>
                      </a:r>
                      <a:r>
                        <a:rPr lang="ru-RU" sz="2000" i="0" dirty="0">
                          <a:effectLst/>
                          <a:latin typeface="Book Antiqua" panose="02040602050305030304" pitchFamily="18" charset="0"/>
                        </a:rPr>
                        <a:t>основе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 соответствующих 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порядков 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оказания медицинской помощи и 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клинических рекомендаций 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и утверждаются уполномоченным </a:t>
                      </a:r>
                      <a:r>
                        <a:rPr lang="ru-RU" sz="2000" b="1" dirty="0">
                          <a:effectLst/>
                          <a:latin typeface="Book Antiqua" panose="02040602050305030304" pitchFamily="18" charset="0"/>
                        </a:rPr>
                        <a:t>федеральным органом исполнительной власти</a:t>
                      </a:r>
                    </a:p>
                    <a:p>
                      <a:pPr algn="l"/>
                      <a:endParaRPr lang="ru-RU" sz="2000" dirty="0">
                        <a:effectLst/>
                        <a:latin typeface="Book Antiqua" panose="02040602050305030304" pitchFamily="18" charset="0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406406165"/>
                  </a:ext>
                </a:extLst>
              </a:tr>
              <a:tr h="20573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ритерии оценки качества медицинской помощи </a:t>
                      </a:r>
                      <a:br>
                        <a:rPr lang="ru-RU" sz="2000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</a:b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Приказ Министерства здравоохранения РФ от 10 мая 2017 г. </a:t>
                      </a:r>
                      <a:r>
                        <a:rPr lang="en" sz="2000" dirty="0">
                          <a:effectLst/>
                          <a:latin typeface="Book Antiqua" panose="02040602050305030304" pitchFamily="18" charset="0"/>
                        </a:rPr>
                        <a:t>N 203</a:t>
                      </a: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н</a:t>
                      </a:r>
                      <a:b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</a:br>
                      <a:r>
                        <a:rPr lang="ru-RU" sz="2000" dirty="0">
                          <a:effectLst/>
                          <a:latin typeface="Book Antiqua" panose="02040602050305030304" pitchFamily="18" charset="0"/>
                        </a:rPr>
                        <a:t>"Об утверждении критериев оценки качества медицинской помощи"</a:t>
                      </a:r>
                    </a:p>
                    <a:p>
                      <a:pPr algn="l"/>
                      <a:endParaRPr lang="ru-RU" sz="2000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l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7965414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72521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328" y="339612"/>
            <a:ext cx="15929292" cy="853757"/>
          </a:xfrm>
        </p:spPr>
        <p:txBody>
          <a:bodyPr>
            <a:normAutofit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качества медицинской помощ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54F6B59-EE55-4C36-8EA3-5E5F2DFF43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00945" y="1879996"/>
            <a:ext cx="15928731" cy="696903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endParaRPr lang="ru-RU" sz="2250" b="1" dirty="0">
              <a:latin typeface="Book Antiqua" panose="0204060205030503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394577"/>
              </p:ext>
            </p:extLst>
          </p:nvPr>
        </p:nvGraphicFramePr>
        <p:xfrm>
          <a:off x="1100945" y="1774078"/>
          <a:ext cx="16257157" cy="707495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62571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96342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от 10 мая 2017 г. </a:t>
                      </a:r>
                      <a:r>
                        <a:rPr lang="en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203</a:t>
                      </a:r>
                      <a:r>
                        <a:rPr lang="ru-RU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 "Об утверждении критериев оценки качества медицинской помощи"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6111530">
                <a:tc>
                  <a:txBody>
                    <a:bodyPr/>
                    <a:lstStyle/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Критерии качества в амбулаторных условиях: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ж) установление клинического диагноза на основании данных анамнеза, осмотра, данных лабораторных, инструментальных и иных методов исследования, результатов консультаций врачей-специалистов,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едусмотренных стандартами медицинской помощи, а также клинических рекомендаций (протоколов лечения) по вопросам оказания медицинской помощи</a:t>
                      </a:r>
                    </a:p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и) проведение коррекции плана обследования и плана лечения с учетом клинического диагноза, состояния пациента, особенностей течения заболевания, наличия сопутствующих заболеваний, осложнений заболевания и результатов проводимого лечения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а основе стандартов медицинской помощи и клинических рекомендаций;</a:t>
                      </a:r>
                    </a:p>
                    <a:p>
                      <a:pPr algn="just"/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2.2. Критерии качества в стационарных условиях и в условиях дневного стационара:</a:t>
                      </a:r>
                    </a:p>
                    <a:p>
                      <a:pPr algn="just"/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algn="just"/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з) установление клинического диагноза на основании данных анамнеза, осмотра, данных лабораторных и инструментальных методов обследования, результатов консультаций врачей-специалистов,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едусмотренных стандартами медицинской помощи, а также клинических рекомендаций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6013291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01477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8328" y="339612"/>
            <a:ext cx="15929292" cy="853757"/>
          </a:xfrm>
        </p:spPr>
        <p:txBody>
          <a:bodyPr>
            <a:normAutofit/>
          </a:bodyPr>
          <a:lstStyle/>
          <a:p>
            <a:pPr algn="r"/>
            <a:b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</a:br>
            <a:r>
              <a:rPr lang="ru-RU" sz="24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Экспертиза качества </a:t>
            </a:r>
            <a:r>
              <a:rPr lang="ru-RU" sz="2400" dirty="0">
                <a:solidFill>
                  <a:srgbClr val="002060"/>
                </a:solidFill>
                <a:latin typeface="Bookman Old Style" panose="02050604050505020204" pitchFamily="18" charset="0"/>
              </a:rPr>
              <a:t>медицинской помощи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54982"/>
              </p:ext>
            </p:extLst>
          </p:nvPr>
        </p:nvGraphicFramePr>
        <p:xfrm>
          <a:off x="1258329" y="1788834"/>
          <a:ext cx="15929292" cy="70211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9292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3352">
                <a:tc>
                  <a:txBody>
                    <a:bodyPr/>
                    <a:lstStyle/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риказ Министерства здравоохранения РФ от 19 марта 2021 г. </a:t>
                      </a:r>
                      <a:r>
                        <a:rPr lang="en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N 231</a:t>
                      </a:r>
                      <a:r>
                        <a:rPr lang="ru-RU" sz="20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 "Об утверждении Порядка проведения контроля объемов, сроков, качества и условий предоставления медицинской помощи по обязательному медицинскому страхованию застрахованным лицам, а также ее финансового обеспечения"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2000" b="1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217122456"/>
                  </a:ext>
                </a:extLst>
              </a:tr>
              <a:tr h="5664760">
                <a:tc>
                  <a:txBody>
                    <a:bodyPr/>
                    <a:lstStyle/>
                    <a:p>
                      <a:pPr algn="just">
                        <a:buFontTx/>
                        <a:buNone/>
                      </a:pP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Экспертиза качества медицинской помощи проводится путем оценки соответствия предоставленной застрахованному лицу медицинской помощи договору по обязательному медицинскому страхованию, договору в рамках базовой программы,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порядкам оказания медицинской помощи, клиническим рекомендациям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стандартам медицинской помощи.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i="0" u="none" strike="noStrike" kern="1200" dirty="0">
                        <a:solidFill>
                          <a:schemeClr val="dk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арушения при оказании медицинской помощи, выявленные в медицинской организации, по договору по обязательному медицинскому страхованию: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Book Antiqua" panose="02040602050305030304" pitchFamily="18" charset="0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Не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выполнение, несвоевременное или ненадлежащее выполнение необходимых или выполнение непоказанных, неоправданных с клинической точки зрения, пациенту диагностических и (или) лечебных мероприятий, оперативных вмешательств </a:t>
                      </a:r>
                      <a:r>
                        <a:rPr lang="ru-RU" sz="2000" b="1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в соответствии с порядками оказания медицинской помощи, на основе клинических рекомендаций и с учетом стандартов медицинской помощи </a:t>
                      </a:r>
                      <a:r>
                        <a:rPr lang="ru-RU" sz="2000" b="0" i="0" u="none" strike="noStrike" kern="1200" dirty="0">
                          <a:solidFill>
                            <a:schemeClr val="dk1"/>
                          </a:solidFill>
                          <a:effectLst/>
                          <a:latin typeface="Book Antiqua" panose="02040602050305030304" pitchFamily="18" charset="0"/>
                          <a:ea typeface="+mn-ea"/>
                          <a:cs typeface="+mn-cs"/>
                        </a:rPr>
                        <a:t>или преждевременное с клинической точки зрения прекращение проведения лечебных мероприятий при отсутствии клинического эффекта, устанавливаемое при полном или частичном несоответствии оказанной застрахованному лицу медицинской помощи, в том числе не учитывающие состояние здоровья застрахованного лица</a:t>
                      </a:r>
                    </a:p>
                  </a:txBody>
                  <a:tcPr marL="137160" marR="137160" marT="68580" marB="68580"/>
                </a:tc>
                <a:extLst>
                  <a:ext uri="{0D108BD9-81ED-4DB2-BD59-A6C34878D82A}">
                    <a16:rowId xmlns:a16="http://schemas.microsoft.com/office/drawing/2014/main" val="13191392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70858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05135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7522A2FE-3EC2-46BB-8319-C8F683F2700A}"/>
              </a:ext>
            </a:extLst>
          </p:cNvPr>
          <p:cNvSpPr txBox="1">
            <a:spLocks/>
          </p:cNvSpPr>
          <p:nvPr/>
        </p:nvSpPr>
        <p:spPr>
          <a:xfrm>
            <a:off x="5004719" y="955824"/>
            <a:ext cx="10115078" cy="82591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ru-RU" sz="28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09D6275-A43A-1D56-A9FB-39BDE9D1CE84}"/>
              </a:ext>
            </a:extLst>
          </p:cNvPr>
          <p:cNvSpPr txBox="1">
            <a:spLocks/>
          </p:cNvSpPr>
          <p:nvPr/>
        </p:nvSpPr>
        <p:spPr>
          <a:xfrm>
            <a:off x="3296944" y="1113135"/>
            <a:ext cx="12998970" cy="123886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spcBef>
                <a:spcPts val="0"/>
              </a:spcBef>
              <a:defRPr/>
            </a:pPr>
            <a:endParaRPr lang="ru-RU" sz="28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FE48F69-C565-5740-ED8F-582B8EA67D7F}"/>
              </a:ext>
            </a:extLst>
          </p:cNvPr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04775" y="0"/>
            <a:ext cx="18497550" cy="10296721"/>
          </a:xfrm>
          <a:prstGeom prst="rect">
            <a:avLst/>
          </a:prstGeom>
          <a:ln w="0"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7006A2-5FC8-9866-D677-812409DA1193}"/>
              </a:ext>
            </a:extLst>
          </p:cNvPr>
          <p:cNvSpPr txBox="1"/>
          <p:nvPr/>
        </p:nvSpPr>
        <p:spPr>
          <a:xfrm>
            <a:off x="2743200" y="1624125"/>
            <a:ext cx="1389561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200" b="1" i="0" u="none" strike="noStrike" dirty="0">
                <a:solidFill>
                  <a:srgbClr val="002060"/>
                </a:solidFill>
                <a:effectLst/>
                <a:latin typeface="Book Antiqua" panose="02040602050305030304" pitchFamily="18" charset="0"/>
              </a:rPr>
              <a:t>Перечень</a:t>
            </a:r>
            <a:br>
              <a:rPr lang="ru-RU" sz="2200" b="1" dirty="0">
                <a:solidFill>
                  <a:srgbClr val="002060"/>
                </a:solidFill>
                <a:latin typeface="Book Antiqua" panose="02040602050305030304" pitchFamily="18" charset="0"/>
              </a:rPr>
            </a:br>
            <a:r>
              <a:rPr lang="ru-RU" sz="2200" b="1" i="0" u="none" strike="noStrike" dirty="0">
                <a:solidFill>
                  <a:srgbClr val="002060"/>
                </a:solidFill>
                <a:effectLst/>
                <a:latin typeface="Book Antiqua" panose="02040602050305030304" pitchFamily="18" charset="0"/>
              </a:rPr>
              <a:t>оснований для отказа в оплате медицинской помощи (уменьшения оплаты медицинской помощи)</a:t>
            </a:r>
            <a:endParaRPr lang="ru-RU" sz="22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3B907C7-270F-CC29-A97E-5EF910D3F301}"/>
              </a:ext>
            </a:extLst>
          </p:cNvPr>
          <p:cNvGraphicFramePr>
            <a:graphicFrameLocks noGrp="1"/>
          </p:cNvGraphicFramePr>
          <p:nvPr/>
        </p:nvGraphicFramePr>
        <p:xfrm>
          <a:off x="1618431" y="2654518"/>
          <a:ext cx="15120257" cy="6511477"/>
        </p:xfrm>
        <a:graphic>
          <a:graphicData uri="http://schemas.openxmlformats.org/drawingml/2006/table">
            <a:tbl>
              <a:tblPr/>
              <a:tblGrid>
                <a:gridCol w="1114392">
                  <a:extLst>
                    <a:ext uri="{9D8B030D-6E8A-4147-A177-3AD203B41FA5}">
                      <a16:colId xmlns:a16="http://schemas.microsoft.com/office/drawing/2014/main" val="3160226389"/>
                    </a:ext>
                  </a:extLst>
                </a:gridCol>
                <a:gridCol w="14005865">
                  <a:extLst>
                    <a:ext uri="{9D8B030D-6E8A-4147-A177-3AD203B41FA5}">
                      <a16:colId xmlns:a16="http://schemas.microsoft.com/office/drawing/2014/main" val="2897172668"/>
                    </a:ext>
                  </a:extLst>
                </a:gridCol>
              </a:tblGrid>
              <a:tr h="410057">
                <a:tc gridSpan="2">
                  <a:txBody>
                    <a:bodyPr/>
                    <a:lstStyle/>
                    <a:p>
                      <a:pPr algn="ctr"/>
                      <a:r>
                        <a:rPr lang="ru-RU" sz="2200" b="1" dirty="0">
                          <a:effectLst/>
                          <a:latin typeface="Book Antiqua" panose="02040602050305030304" pitchFamily="18" charset="0"/>
                        </a:rPr>
                        <a:t>Раздел 3. Нарушения, выявляемые при проведении экспертизы качества медицинской помощи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93947"/>
                  </a:ext>
                </a:extLst>
              </a:tr>
              <a:tr h="2528705">
                <a:tc>
                  <a:txBody>
                    <a:bodyPr/>
                    <a:lstStyle/>
                    <a:p>
                      <a:pPr algn="ctr"/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3.1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Установление неверного диагноза, связанное с невыполнением, несвоевременным или ненадлежащим выполнением необходимых пациенту диагностических и (или) лечебных мероприятий, оперативных вмешательств в соответствии с </a:t>
                      </a:r>
                      <a:r>
                        <a:rPr lang="ru-RU" sz="2200" u="none" strike="noStrike" dirty="0">
                          <a:solidFill>
                            <a:srgbClr val="551A8B"/>
                          </a:solidFill>
                          <a:effectLst/>
                          <a:latin typeface="Book Antiqua" panose="02040602050305030304" pitchFamily="18" charset="0"/>
                          <a:hlinkClick r:id="rId6"/>
                        </a:rPr>
                        <a:t>порядками</a:t>
                      </a:r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 оказания медицинской помощи, на основе </a:t>
                      </a:r>
                      <a:r>
                        <a:rPr lang="ru-RU" sz="2200" u="none" strike="noStrike" dirty="0">
                          <a:solidFill>
                            <a:srgbClr val="551A8B"/>
                          </a:solidFill>
                          <a:effectLst/>
                          <a:latin typeface="Book Antiqua" panose="02040602050305030304" pitchFamily="18" charset="0"/>
                          <a:hlinkClick r:id="rId7"/>
                        </a:rPr>
                        <a:t>клинических рекомендаций</a:t>
                      </a:r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 и с учетом </a:t>
                      </a:r>
                      <a:r>
                        <a:rPr lang="ru-RU" sz="2200" u="none" strike="noStrike" dirty="0">
                          <a:solidFill>
                            <a:srgbClr val="551A8B"/>
                          </a:solidFill>
                          <a:effectLst/>
                          <a:latin typeface="Book Antiqua" panose="02040602050305030304" pitchFamily="18" charset="0"/>
                          <a:hlinkClick r:id="rId8"/>
                        </a:rPr>
                        <a:t>стандартов</a:t>
                      </a:r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 медицинской помощи, в том числе по результатам проведенного диспансерного наблюдения, с учетом рекомендаций по применению методов профилактики, диагностики, лечения и реабилитации, данных медицинскими работниками национальных медицинских центров в ходе консультаций/консилиумов с применением телемедицинских технологий: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91527"/>
                  </a:ext>
                </a:extLst>
              </a:tr>
              <a:tr h="410057">
                <a:tc>
                  <a:txBody>
                    <a:bodyPr/>
                    <a:lstStyle/>
                    <a:p>
                      <a:pPr algn="ctr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3.1.1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не повлиявшее на состояние здоровья застрахованного лица;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1577924"/>
                  </a:ext>
                </a:extLst>
              </a:tr>
              <a:tr h="1113012">
                <a:tc>
                  <a:txBody>
                    <a:bodyPr/>
                    <a:lstStyle/>
                    <a:p>
                      <a:pPr algn="ctr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3.1.2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приведшее к удлинению или укорочению сроков лечения сверх установленных (за исключением случаев отказа застрахованного лица от медицинского вмешательства в установленных законодательством Российской Федерации случаях);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470711"/>
                  </a:ext>
                </a:extLst>
              </a:tr>
              <a:tr h="937274">
                <a:tc>
                  <a:txBody>
                    <a:bodyPr/>
                    <a:lstStyle/>
                    <a:p>
                      <a:pPr algn="ctr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3.1.3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приведшее к ухудшению состояния здоровья застрахованного лица, либо создавшее риск прогрессирования имеющегося заболевания, либо создавшее риск возникновения нового заболевания;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5869138"/>
                  </a:ext>
                </a:extLst>
              </a:tr>
              <a:tr h="234318">
                <a:tc>
                  <a:txBody>
                    <a:bodyPr/>
                    <a:lstStyle/>
                    <a:p>
                      <a:pPr algn="ctr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3.1.4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приведшее к инвалидизации;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386065"/>
                  </a:ext>
                </a:extLst>
              </a:tr>
              <a:tr h="585796">
                <a:tc>
                  <a:txBody>
                    <a:bodyPr/>
                    <a:lstStyle/>
                    <a:p>
                      <a:pPr algn="ctr"/>
                      <a:r>
                        <a:rPr lang="ru-RU" sz="2200">
                          <a:effectLst/>
                          <a:latin typeface="Book Antiqua" panose="02040602050305030304" pitchFamily="18" charset="0"/>
                        </a:rPr>
                        <a:t>3.1.5.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200" dirty="0">
                          <a:effectLst/>
                          <a:latin typeface="Book Antiqua" panose="02040602050305030304" pitchFamily="18" charset="0"/>
                        </a:rPr>
                        <a:t>приведшее к летальному исходу (в том числе при наличии расхождений клинического и патолого-анатомического диагнозов);</a:t>
                      </a:r>
                    </a:p>
                  </a:txBody>
                  <a:tcPr marL="53266" marR="53266" marT="26633" marB="26633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28023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77517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629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22343886-9228-EA47-B74B-ACF6A8CED9A1}"/>
              </a:ext>
            </a:extLst>
          </p:cNvPr>
          <p:cNvSpPr txBox="1">
            <a:spLocks/>
          </p:cNvSpPr>
          <p:nvPr/>
        </p:nvSpPr>
        <p:spPr bwMode="auto">
          <a:xfrm>
            <a:off x="1381237" y="2326989"/>
            <a:ext cx="15708085" cy="5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spcBef>
                <a:spcPts val="0"/>
              </a:spcBef>
              <a:buNone/>
              <a:defRPr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Методические рекомендации "Порядок проведения судебно-медицинской экспертизы и установления причинно-следственных связей по факту неоказания или ненадлежащего оказания медицинской" (утв. директором ФГБУ "РЦСМЭ" Минздрава России 21.06.2017)</a:t>
            </a:r>
          </a:p>
          <a:p>
            <a:pPr algn="just">
              <a:spcBef>
                <a:spcPts val="0"/>
              </a:spcBef>
              <a:buNone/>
              <a:defRPr/>
            </a:pPr>
            <a:endParaRPr lang="ru-RU" sz="20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  <a:p>
            <a:pPr algn="just">
              <a:spcBef>
                <a:spcPts val="0"/>
              </a:spcBef>
              <a:buNone/>
              <a:defRPr/>
            </a:pPr>
            <a:r>
              <a:rPr lang="ru-RU" sz="2000" dirty="0">
                <a:latin typeface="Book Antiqua" panose="02040602050305030304" pitchFamily="18" charset="0"/>
              </a:rPr>
              <a:t>Под </a:t>
            </a:r>
            <a:r>
              <a:rPr lang="ru-RU" sz="2000" b="1" dirty="0">
                <a:latin typeface="Book Antiqua" panose="02040602050305030304" pitchFamily="18" charset="0"/>
              </a:rPr>
              <a:t>"ненадлежащим оказанием медицинской помощи" </a:t>
            </a:r>
            <a:r>
              <a:rPr lang="ru-RU" sz="2000" dirty="0">
                <a:latin typeface="Book Antiqua" panose="02040602050305030304" pitchFamily="18" charset="0"/>
              </a:rPr>
              <a:t>понимается оказание медицинской помощи пациенту не в соответствии с общепринятыми порядками оказания медицинской помощи и стандартами медицинской помощи, утвержденными Министерством здравоохранения Российской Федерации, клиническими рекомендациями по вопросам оказания медицинской помощи, разработанными и утвержденными медицинскими профессиональными некоммерческими организациями, в том числе технические и лечебно-диагностические ошибки при оказании медицинской помощи пациенту. 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Таким образом, </a:t>
            </a:r>
            <a:r>
              <a:rPr lang="ru-RU" sz="2000" b="1" dirty="0">
                <a:latin typeface="Book Antiqua" panose="02040602050305030304" pitchFamily="18" charset="0"/>
              </a:rPr>
              <a:t>обязательным признаком</a:t>
            </a:r>
            <a:r>
              <a:rPr lang="ru-RU" sz="2000" dirty="0">
                <a:latin typeface="Book Antiqua" panose="02040602050305030304" pitchFamily="18" charset="0"/>
              </a:rPr>
              <a:t>, характеризующим ненадлежащее оказание медицинской помощи, является </a:t>
            </a:r>
            <a:r>
              <a:rPr lang="ru-RU" sz="2000" b="1" dirty="0">
                <a:latin typeface="Book Antiqua" panose="02040602050305030304" pitchFamily="18" charset="0"/>
              </a:rPr>
              <a:t>нарушение требований клинических рекомендаций, порядков и стандартов, регламентирующих конкретный вид медицинской помощи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DBDDA4C-EEC4-1E40-A08D-97B1023FBF2E}"/>
              </a:ext>
            </a:extLst>
          </p:cNvPr>
          <p:cNvSpPr/>
          <p:nvPr/>
        </p:nvSpPr>
        <p:spPr>
          <a:xfrm>
            <a:off x="7751579" y="1289021"/>
            <a:ext cx="80297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8350653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2633491"/>
            <a:ext cx="15482807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buNone/>
            </a:pP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Определение СК по гражданским делам Восьмого кассационного суда общей юрисдикции от 19 апреля 2022 г. по делу </a:t>
            </a:r>
            <a:r>
              <a:rPr lang="en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N 8</a:t>
            </a: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Г-4930/2022[88-6503/2022]</a:t>
            </a:r>
          </a:p>
          <a:p>
            <a:pPr indent="0"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Иск о компенсации морального вреда к ГБУЗ …. Иркутская область</a:t>
            </a:r>
          </a:p>
          <a:p>
            <a:pPr indent="0" algn="just"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Согласно протоколу врачебной комиссии,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в части качества оказания медицинской помощи К.В.А., на амбулаторно-поликлиническом этапе нарушены: Порядок оказания медицинской помощи больным с сердечно-сосудистыми заболеваниями </a:t>
            </a:r>
          </a:p>
          <a:p>
            <a:pPr indent="0" algn="just"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ериодичность, длительность, объемы обследования и лечения при диспансерном наблюдении больного не соответствовали указанным порядкам и стандартам медицинской помощи.</a:t>
            </a:r>
          </a:p>
          <a:p>
            <a:pPr indent="0" algn="just">
              <a:buNone/>
            </a:pP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Из 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ответа Министерства здравоохранения Иркутской области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на обращение пациентки по вопросу оказания медицинской помощи следует, что 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роведен ведомственный контроль качества и безопасности медицинской деятельности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в отношении ОГБУЗ по предоставленным медицинским документам. </a:t>
            </a:r>
          </a:p>
          <a:p>
            <a:pPr indent="0" algn="just"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ри проведении проверки выявлены нарушения Порядков и стандартов оказания медицинской помощи К.В.А. как на амбулаторном, так и на стационарных этапах оказания медицинской помощи с поздней диагностикой серьезного заболевания и развитием осложнений в связи с имевшейся сопутствующей патологией.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 Периодичность, длительность, объемы обследования и течения при диспансерном наблюдении больного не соответствовали указанным порядкам и стандартам медицинской помощи. </a:t>
            </a:r>
          </a:p>
          <a:p>
            <a:pPr indent="0" algn="just">
              <a:buNone/>
            </a:pP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Главным врачом ОГБУЗ приняты меры по устранению выявленных нарушений и недопущению впредь, применены меры дисциплинарного взыскания к причастным к нарушениям медицинским работникам врачам-хирургам, заведующему поликлиникой</a:t>
            </a:r>
            <a:r>
              <a:rPr lang="en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.</a:t>
            </a:r>
          </a:p>
          <a:p>
            <a:pPr indent="0">
              <a:buNone/>
            </a:pPr>
            <a:endParaRPr lang="ru-RU" sz="22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3FBB839-8EE6-D61D-6C4C-163A47E05F22}"/>
              </a:ext>
            </a:extLst>
          </p:cNvPr>
          <p:cNvSpPr/>
          <p:nvPr/>
        </p:nvSpPr>
        <p:spPr>
          <a:xfrm>
            <a:off x="7751579" y="1289021"/>
            <a:ext cx="80297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8898974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2633491"/>
            <a:ext cx="15482807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buNone/>
            </a:pP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Определение СК по гражданским делам Восьмого кассационного суда общей юрисдикции от 19 апреля 2022 г. по делу </a:t>
            </a:r>
            <a:r>
              <a:rPr lang="en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N 8</a:t>
            </a:r>
            <a:r>
              <a:rPr lang="ru-RU" sz="2000" b="0" i="0" u="none" strike="noStrike" dirty="0">
                <a:solidFill>
                  <a:srgbClr val="0070C0"/>
                </a:solidFill>
                <a:effectLst/>
                <a:latin typeface="Book Antiqua" panose="02040602050305030304" pitchFamily="18" charset="0"/>
              </a:rPr>
              <a:t>Г-4930/2022[88-6503/2022]</a:t>
            </a:r>
          </a:p>
          <a:p>
            <a:pPr indent="0"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Иск о компенсации морального вреда к ГБУЗ …. Иркутская область</a:t>
            </a:r>
          </a:p>
          <a:p>
            <a:pPr indent="0" algn="just">
              <a:buNone/>
            </a:pP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Заключением ГБУЗ Иркутское областное Бюро судебно-медицинской экспертизы</a:t>
            </a:r>
            <a:r>
              <a:rPr lang="en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, </a:t>
            </a:r>
            <a:r>
              <a:rPr lang="ru-RU" sz="2000" b="0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роведенной в рамках проверки по факту смерти установлено, что смерть К.В.А. последовала от ….. </a:t>
            </a:r>
            <a:r>
              <a:rPr lang="ru-RU" sz="2000" b="1" i="0" u="none" strike="noStrike" dirty="0">
                <a:solidFill>
                  <a:srgbClr val="22272F"/>
                </a:solidFill>
                <a:effectLst/>
                <a:latin typeface="Book Antiqua" panose="02040602050305030304" pitchFamily="18" charset="0"/>
              </a:rPr>
              <a:t>При этом смерть К.В.А. не стоит в причинной связи с действиями врачей ОГБУЗ.</a:t>
            </a:r>
            <a:endParaRPr lang="en" sz="2000" b="1" i="0" u="none" strike="noStrike" dirty="0">
              <a:solidFill>
                <a:srgbClr val="22272F"/>
              </a:solidFill>
              <a:effectLst/>
              <a:latin typeface="Book Antiqua" panose="02040602050305030304" pitchFamily="18" charset="0"/>
            </a:endParaRPr>
          </a:p>
          <a:p>
            <a:pPr indent="0" algn="just">
              <a:buNone/>
            </a:pPr>
            <a:r>
              <a:rPr lang="ru-RU" sz="2000" b="0" i="0" u="none" strike="noStrike" dirty="0">
                <a:effectLst/>
                <a:latin typeface="Book Antiqua" panose="02040602050305030304" pitchFamily="18" charset="0"/>
              </a:rPr>
              <a:t>Установив, что в результате ненадлежащего оказания медицинской помощи К.В.А, не связанной с наступлением смерти, несвоевременного проведения всех необходимых обследований и диагностических мероприятий К.В.А. ОГБУЗ</a:t>
            </a:r>
            <a:r>
              <a:rPr lang="en" sz="2000" b="0" i="0" u="none" strike="noStrike" dirty="0">
                <a:effectLst/>
                <a:latin typeface="Book Antiqua" panose="02040602050305030304" pitchFamily="18" charset="0"/>
              </a:rPr>
              <a:t>, </a:t>
            </a:r>
            <a:r>
              <a:rPr lang="ru-RU" sz="2000" b="0" i="0" u="none" strike="noStrike" dirty="0">
                <a:effectLst/>
                <a:latin typeface="Book Antiqua" panose="02040602050305030304" pitchFamily="18" charset="0"/>
              </a:rPr>
              <a:t>что привело к прогрессированию имеющегося у него заболевания, смерть К.В.А. в силу родственных и семейных отношений, безусловно причинила истцам моральный вред, суды первой и апелляционной инстанций пришли к обоснованному выводу о наличии оснований для взыскания с ответчика в пользу истцов компенсации морального вреда.</a:t>
            </a:r>
          </a:p>
          <a:p>
            <a:pPr indent="0" algn="just">
              <a:buNone/>
            </a:pPr>
            <a:r>
              <a:rPr lang="ru-RU" sz="2000" b="1" i="0" u="none" strike="noStrike" dirty="0">
                <a:effectLst/>
                <a:latin typeface="Book Antiqua" panose="02040602050305030304" pitchFamily="18" charset="0"/>
              </a:rPr>
              <a:t>То обстоятельство, что в данном случае дефекты оказания медицинской помощи не находятся в причинно-следственной связи со смертью К.В.А, поскольку согласно выводам комиссионной судебно-медицинской экспертизы ГБУЗ "Иркутское областное бюро судебно-медицинской экспертизы" смерть К.В.А. обусловлена исключительно характером и тяжестью имеющегося заболевания в ", обоснованно учтено судами при определении размера компенсации морального вреда.</a:t>
            </a:r>
          </a:p>
          <a:p>
            <a:pPr indent="0">
              <a:buNone/>
            </a:pPr>
            <a:endParaRPr lang="ru-RU" sz="22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3FBB839-8EE6-D61D-6C4C-163A47E05F22}"/>
              </a:ext>
            </a:extLst>
          </p:cNvPr>
          <p:cNvSpPr/>
          <p:nvPr/>
        </p:nvSpPr>
        <p:spPr>
          <a:xfrm>
            <a:off x="7751579" y="1289021"/>
            <a:ext cx="80297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4846097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2633491"/>
            <a:ext cx="15482807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buNone/>
            </a:pP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пределение СК по гражданским делам Седьмого кассационного суда общей юрисдикции от 18 января 2022 г. по делу </a:t>
            </a:r>
            <a:r>
              <a:rPr lang="en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N 8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Г-20527/2021[88-1043/2022-(88-20483/2021)]</a:t>
            </a:r>
          </a:p>
          <a:p>
            <a:pPr indent="0"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Е.А. обратились в суд с иском к бюджетному учреждению, в котором, уточнив заявленные требования, просили признать врачебной ошибкой качество оказанной  умершему медицинской помощи </a:t>
            </a: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В обоснование заявленных требований истцы ссылались на то, что г. умер </a:t>
            </a:r>
            <a:r>
              <a:rPr lang="ru-RU" sz="2000" b="1" dirty="0">
                <a:latin typeface="Book Antiqua" panose="02040602050305030304" pitchFamily="18" charset="0"/>
              </a:rPr>
              <a:t>причиной смерти явилась атеросклеротическая болезнь сердца, осложнившаяся развитием левожелудочковой недостаточности. </a:t>
            </a:r>
          </a:p>
          <a:p>
            <a:pPr indent="0"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До момента смерти ежегодно проходил плановые медицинские осмотры по полису обязательного медицинского страхования. </a:t>
            </a: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Участковым терапевтом ему был поставлен предварительный диагноз: бессимптомная ишемия миокарда. По результатам обследования поставлен заключительный диагноз: гипертоническая болезнь 2 стадии 2 степени, риск 2 предварительный. Конкурентный: бессимптомная ишемия миокарда. </a:t>
            </a:r>
          </a:p>
          <a:p>
            <a:pPr indent="0"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Истцы считают, что после установления заключительного диагноза не была назначена консультация и лечение у врача кардиолога, неверно поставлен диагноз, не определена атеросклеротическая болезнь сердца. </a:t>
            </a: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В выписке из амбулаторной карты не указано, проводилась ли комплексная диагностика на наличие или отсутствие у него атеросклероза, лабораторные исследования, инструментальная диагностика. </a:t>
            </a: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Указывают на некачественное оказание медицинской помощи, которая привела к смерти близкого родственника ("данные изъяты") истцов.</a:t>
            </a:r>
          </a:p>
          <a:p>
            <a:endParaRPr lang="ru-RU" sz="20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7299DA3-80E4-703C-B0F2-D8D44F469F8F}"/>
              </a:ext>
            </a:extLst>
          </p:cNvPr>
          <p:cNvSpPr/>
          <p:nvPr/>
        </p:nvSpPr>
        <p:spPr>
          <a:xfrm>
            <a:off x="7751579" y="1289021"/>
            <a:ext cx="80297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9828662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2633491"/>
            <a:ext cx="15482807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>
              <a:buNone/>
            </a:pP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пределение СК по гражданским делам Седьмого кассационного суда общей юрисдикции от 18 января 2022 г. по делу </a:t>
            </a:r>
            <a:r>
              <a:rPr lang="en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N 8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Г-20527/2021[88-1043/2022-(88-20483/2021)]</a:t>
            </a:r>
          </a:p>
          <a:p>
            <a:pPr indent="0" algn="just"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Согласно выводам экспертов, </a:t>
            </a:r>
            <a:r>
              <a:rPr lang="ru-RU" sz="2000" b="1" dirty="0">
                <a:latin typeface="Book Antiqua" panose="02040602050305030304" pitchFamily="18" charset="0"/>
              </a:rPr>
              <a:t>оказанная медицинская помощь не соответствовала клиническим рекомендациям в части, касающейся правильности выбора методов диагностики, имевшихся у него заболеваний, </a:t>
            </a:r>
            <a:r>
              <a:rPr lang="ru-RU" sz="2000" dirty="0">
                <a:latin typeface="Book Antiqua" panose="02040602050305030304" pitchFamily="18" charset="0"/>
              </a:rPr>
              <a:t>а именно: не был выполнен расчет скорости клубочковой фильтрации, не было проведено суточное </a:t>
            </a:r>
            <a:r>
              <a:rPr lang="ru-RU" sz="2000" dirty="0" err="1">
                <a:latin typeface="Book Antiqua" panose="02040602050305030304" pitchFamily="18" charset="0"/>
              </a:rPr>
              <a:t>мониторирование</a:t>
            </a:r>
            <a:r>
              <a:rPr lang="ru-RU" sz="2000" dirty="0">
                <a:latin typeface="Book Antiqua" panose="02040602050305030304" pitchFamily="18" charset="0"/>
              </a:rPr>
              <a:t> АД, не было назначено выполнение анализа на </a:t>
            </a:r>
            <a:r>
              <a:rPr lang="ru-RU" sz="2000" dirty="0" err="1">
                <a:latin typeface="Book Antiqua" panose="02040602050305030304" pitchFamily="18" charset="0"/>
              </a:rPr>
              <a:t>микроальбуминурию</a:t>
            </a:r>
            <a:r>
              <a:rPr lang="ru-RU" sz="2000" dirty="0">
                <a:latin typeface="Book Antiqua" panose="02040602050305030304" pitchFamily="18" charset="0"/>
              </a:rPr>
              <a:t>. Указанные недостатки относятся к недостаткам диагностики по отношению к гипертонической болезни сердца, а не к недостаткам диагностики атеросклеротической болезни сердца.</a:t>
            </a:r>
          </a:p>
          <a:p>
            <a:pPr indent="0"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Комиссия экспертов пришла к выводу, что установленные "диагнозы были сформулированы некорректно: в них не отражена общепринятая детализация диагноза - атеросклероз аорты и коронарных артерий, атеросклеротический кардиосклероз, что комиссией отмечено как недостаток оказания медицинской помощи.</a:t>
            </a:r>
          </a:p>
          <a:p>
            <a:endParaRPr lang="ru-RU" sz="20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967DA1D-10B4-31A5-6BA1-220D6159AB8C}"/>
              </a:ext>
            </a:extLst>
          </p:cNvPr>
          <p:cNvSpPr/>
          <p:nvPr/>
        </p:nvSpPr>
        <p:spPr>
          <a:xfrm>
            <a:off x="7751579" y="1289021"/>
            <a:ext cx="802976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8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7439074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18834" y="2365535"/>
            <a:ext cx="15699782" cy="435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Льготное лекарственное обеспечение больных сердечно-сосудистыми заболеваниями</a:t>
            </a:r>
            <a:r>
              <a:rPr lang="en-US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 (</a:t>
            </a: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Федеральные нормативные акты)</a:t>
            </a: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остановление Правительства РФ от 24 декабря 2021 г. </a:t>
            </a:r>
            <a:r>
              <a:rPr lang="ru-RU" sz="2000" b="1" dirty="0" err="1">
                <a:latin typeface="Book Antiqua" panose="02040602050305030304" pitchFamily="18" charset="0"/>
              </a:rPr>
              <a:t>N</a:t>
            </a:r>
            <a:r>
              <a:rPr lang="ru-RU" sz="2000" b="1" dirty="0">
                <a:latin typeface="Book Antiqua" panose="02040602050305030304" pitchFamily="18" charset="0"/>
              </a:rPr>
              <a:t> 2462 "О внесении изменений в государственную программу Российской Федерации "Развитие здравоохранения"</a:t>
            </a:r>
          </a:p>
          <a:p>
            <a:pPr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Font typeface="Wingdings" panose="05000000000000000000" pitchFamily="2" charset="2"/>
              <a:buChar char="§"/>
            </a:pPr>
            <a:endParaRPr lang="ru-RU" altLang="ru-RU" sz="2000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r>
              <a:rPr lang="ru-RU" sz="2000" dirty="0">
                <a:latin typeface="Book Antiqua" panose="02040602050305030304" pitchFamily="18" charset="0"/>
              </a:rPr>
              <a:t>Субсидии предоставляются в целях </a:t>
            </a:r>
            <a:r>
              <a:rPr lang="ru-RU" sz="2000" dirty="0" err="1">
                <a:latin typeface="Book Antiqua" panose="02040602050305030304" pitchFamily="18" charset="0"/>
              </a:rPr>
              <a:t>софинансирования</a:t>
            </a:r>
            <a:r>
              <a:rPr lang="ru-RU" sz="2000" dirty="0">
                <a:latin typeface="Book Antiqua" panose="02040602050305030304" pitchFamily="18" charset="0"/>
              </a:rPr>
              <a:t> расходных обязательств субъектов Российской Федерации, возникающих при обеспечении в амбулаторных условиях лекарственными препаратами в соответствии с перечнем, утвержденным Министерством здравоохранения Российской Федерации, лиц, находящихся под диспансерным наблюдением, которые перенесли острое нарушение мозгового кровообращения, инфаркт миокарда, а также которым выполнены аортокоронарное шунтирование, </a:t>
            </a:r>
            <a:r>
              <a:rPr lang="ru-RU" sz="2000" dirty="0" err="1">
                <a:latin typeface="Book Antiqua" panose="02040602050305030304" pitchFamily="18" charset="0"/>
              </a:rPr>
              <a:t>ангиопластика</a:t>
            </a:r>
            <a:r>
              <a:rPr lang="ru-RU" sz="2000" dirty="0">
                <a:latin typeface="Book Antiqua" panose="02040602050305030304" pitchFamily="18" charset="0"/>
              </a:rPr>
              <a:t> коронарных артерий со </a:t>
            </a:r>
            <a:r>
              <a:rPr lang="ru-RU" sz="2000" dirty="0" err="1">
                <a:latin typeface="Book Antiqua" panose="02040602050305030304" pitchFamily="18" charset="0"/>
              </a:rPr>
              <a:t>стентированием</a:t>
            </a:r>
            <a:r>
              <a:rPr lang="ru-RU" sz="2000" dirty="0">
                <a:latin typeface="Book Antiqua" panose="02040602050305030304" pitchFamily="18" charset="0"/>
              </a:rPr>
              <a:t> и </a:t>
            </a:r>
            <a:r>
              <a:rPr lang="ru-RU" sz="2000" dirty="0" err="1">
                <a:latin typeface="Book Antiqua" panose="02040602050305030304" pitchFamily="18" charset="0"/>
              </a:rPr>
              <a:t>катетерная</a:t>
            </a:r>
            <a:r>
              <a:rPr lang="ru-RU" sz="2000" dirty="0">
                <a:latin typeface="Book Antiqua" panose="02040602050305030304" pitchFamily="18" charset="0"/>
              </a:rPr>
              <a:t> абляция по поводу сердечно-сосудистых заболеваний, </a:t>
            </a:r>
            <a:r>
              <a:rPr lang="ru-RU" sz="2000" b="1" dirty="0">
                <a:latin typeface="Book Antiqua" panose="02040602050305030304" pitchFamily="18" charset="0"/>
              </a:rPr>
              <a:t>в течение 2 лет </a:t>
            </a: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с даты постановки диагноза </a:t>
            </a:r>
            <a:r>
              <a:rPr lang="ru-RU" sz="2000" b="1" dirty="0">
                <a:latin typeface="Book Antiqua" panose="02040602050305030304" pitchFamily="18" charset="0"/>
              </a:rPr>
              <a:t>и (или) выполнения хирургического вмешательства</a:t>
            </a: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endParaRPr lang="ru-RU" altLang="ru-RU" sz="2000" b="1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риказ Министерства здравоохранения РФ от 24 сентября 2021 г. </a:t>
            </a:r>
            <a:r>
              <a:rPr lang="en" sz="2000" b="1" dirty="0">
                <a:latin typeface="Book Antiqua" panose="02040602050305030304" pitchFamily="18" charset="0"/>
              </a:rPr>
              <a:t>N 936</a:t>
            </a:r>
            <a:r>
              <a:rPr lang="ru-RU" sz="2000" b="1" dirty="0">
                <a:latin typeface="Book Antiqua" panose="02040602050305030304" pitchFamily="18" charset="0"/>
              </a:rPr>
              <a:t>н</a:t>
            </a:r>
            <a:r>
              <a:rPr lang="ru-RU" sz="2000" dirty="0">
                <a:latin typeface="Book Antiqua" panose="02040602050305030304" pitchFamily="18" charset="0"/>
              </a:rPr>
              <a:t> "Об утверждении </a:t>
            </a:r>
            <a:r>
              <a:rPr lang="ru-RU" sz="2000" b="1" dirty="0">
                <a:latin typeface="Book Antiqua" panose="02040602050305030304" pitchFamily="18" charset="0"/>
              </a:rPr>
              <a:t>перечня </a:t>
            </a:r>
            <a:r>
              <a:rPr lang="ru-RU" sz="2000" dirty="0">
                <a:latin typeface="Book Antiqua" panose="02040602050305030304" pitchFamily="18" charset="0"/>
              </a:rPr>
              <a:t>лекарственных препаратов для медицинского применения для обеспечения в амбулаторных условиях лиц, которые перенесли острое нарушение мозгового кровообращения, инфаркт миокарда, а также которым были выполнены аортокоронарное шунтирование, </a:t>
            </a:r>
            <a:r>
              <a:rPr lang="ru-RU" sz="2000" dirty="0" err="1">
                <a:latin typeface="Book Antiqua" panose="02040602050305030304" pitchFamily="18" charset="0"/>
              </a:rPr>
              <a:t>ангиопластика</a:t>
            </a:r>
            <a:r>
              <a:rPr lang="ru-RU" sz="2000" dirty="0">
                <a:latin typeface="Book Antiqua" panose="02040602050305030304" pitchFamily="18" charset="0"/>
              </a:rPr>
              <a:t> коронарных артерий со </a:t>
            </a:r>
            <a:r>
              <a:rPr lang="ru-RU" sz="2000" dirty="0" err="1">
                <a:latin typeface="Book Antiqua" panose="02040602050305030304" pitchFamily="18" charset="0"/>
              </a:rPr>
              <a:t>стентированием</a:t>
            </a:r>
            <a:r>
              <a:rPr lang="ru-RU" sz="2000" dirty="0">
                <a:latin typeface="Book Antiqua" panose="02040602050305030304" pitchFamily="18" charset="0"/>
              </a:rPr>
              <a:t> и </a:t>
            </a:r>
            <a:r>
              <a:rPr lang="ru-RU" sz="2000" dirty="0" err="1">
                <a:latin typeface="Book Antiqua" panose="02040602050305030304" pitchFamily="18" charset="0"/>
              </a:rPr>
              <a:t>катетерная</a:t>
            </a:r>
            <a:r>
              <a:rPr lang="ru-RU" sz="2000" dirty="0">
                <a:latin typeface="Book Antiqua" panose="02040602050305030304" pitchFamily="18" charset="0"/>
              </a:rPr>
              <a:t> абляция по поводу сердечно-сосудистых заболеваний"</a:t>
            </a:r>
            <a:endParaRPr lang="ru-RU" altLang="ru-RU" sz="2000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endParaRPr lang="ru-RU" altLang="ru-RU" sz="2000" b="1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310469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629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22343886-9228-EA47-B74B-ACF6A8CED9A1}"/>
              </a:ext>
            </a:extLst>
          </p:cNvPr>
          <p:cNvSpPr txBox="1">
            <a:spLocks/>
          </p:cNvSpPr>
          <p:nvPr/>
        </p:nvSpPr>
        <p:spPr bwMode="auto">
          <a:xfrm>
            <a:off x="1467351" y="2124582"/>
            <a:ext cx="15530692" cy="5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None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Больница оплатит моральные страдания родным пациентки, скончавшейся от разрыва аневризмы, даже если дефекты медпомощи не связаны с летальным исходом</a:t>
            </a:r>
          </a:p>
          <a:p>
            <a:pPr algn="just">
              <a:buNone/>
            </a:pP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бзор 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пределения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 Третьего КСОЮ от 19 августа 2020 г. по делу </a:t>
            </a:r>
            <a:r>
              <a:rPr lang="en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N 8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Г-13340/2020[88-13125/2020])</a:t>
            </a:r>
          </a:p>
          <a:p>
            <a:pPr algn="just">
              <a:buNone/>
            </a:pPr>
            <a:br>
              <a:rPr lang="ru-RU" sz="2000" dirty="0">
                <a:latin typeface="Book Antiqua" panose="02040602050305030304" pitchFamily="18" charset="0"/>
              </a:rPr>
            </a:br>
            <a:r>
              <a:rPr lang="ru-RU" sz="2000" dirty="0">
                <a:latin typeface="Book Antiqua" panose="02040602050305030304" pitchFamily="18" charset="0"/>
              </a:rPr>
              <a:t>Суды трех инстанций сочли справедливой сумму (300 000 рублей) компенсации морального вреда сыну пожилой пациентки, скончавшейся при следующих обстоятельствах: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в начале июля она обратилась в приемный покой райбольницы с жалобой на головную боль и высокое давление. У нее диагностировали гипертонию, рекомендовали самоконтроль артериального давления;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в течение следующих трех недель она посещала терапевта и окулиста, получая назначенное лечение от гипертонической болезни;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однако в конце июля пациентка скончалась от разрыва аневризмы сосудов головного мозга;</a:t>
            </a:r>
          </a:p>
          <a:p>
            <a:pPr algn="just"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algn="just"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Комиссия областного Минздрава в рамках проверки качества медпомощи отметила недостатки медпомощи, оказанной пациентке: </a:t>
            </a:r>
            <a:r>
              <a:rPr lang="ru-RU" sz="2000" dirty="0">
                <a:latin typeface="Book Antiqua" panose="02040602050305030304" pitchFamily="18" charset="0"/>
              </a:rPr>
              <a:t>в нарушение </a:t>
            </a:r>
            <a:r>
              <a:rPr lang="ru-RU" sz="2000" dirty="0">
                <a:latin typeface="Book Antiqua" panose="02040602050305030304" pitchFamily="18" charset="0"/>
                <a:hlinkClick r:id="rId7"/>
              </a:rPr>
              <a:t>стандарта</a:t>
            </a:r>
            <a:r>
              <a:rPr lang="ru-RU" sz="2000" dirty="0">
                <a:latin typeface="Book Antiqua" panose="02040602050305030304" pitchFamily="18" charset="0"/>
              </a:rPr>
              <a:t> оказания первичной МСП при гипертонической болезни, утвержденного </a:t>
            </a:r>
            <a:r>
              <a:rPr lang="ru-RU" sz="2000" dirty="0">
                <a:latin typeface="Book Antiqua" panose="02040602050305030304" pitchFamily="18" charset="0"/>
                <a:hlinkClick r:id="rId8"/>
              </a:rPr>
              <a:t>приказом</a:t>
            </a:r>
            <a:r>
              <a:rPr lang="ru-RU" sz="2000" dirty="0">
                <a:latin typeface="Book Antiqua" panose="02040602050305030304" pitchFamily="18" charset="0"/>
              </a:rPr>
              <a:t> Минздрава </a:t>
            </a:r>
            <a:r>
              <a:rPr lang="en" sz="2000" dirty="0">
                <a:latin typeface="Book Antiqua" panose="02040602050305030304" pitchFamily="18" charset="0"/>
              </a:rPr>
              <a:t>N 708</a:t>
            </a:r>
            <a:r>
              <a:rPr lang="ru-RU" sz="2000" dirty="0">
                <a:latin typeface="Book Antiqua" panose="02040602050305030304" pitchFamily="18" charset="0"/>
              </a:rPr>
              <a:t>н, не назначены исследования на </a:t>
            </a:r>
            <a:r>
              <a:rPr lang="ru-RU" sz="2000" dirty="0" err="1">
                <a:latin typeface="Book Antiqua" panose="02040602050305030304" pitchFamily="18" charset="0"/>
              </a:rPr>
              <a:t>микроальбуминурию</a:t>
            </a:r>
            <a:r>
              <a:rPr lang="ru-RU" sz="2000" dirty="0">
                <a:latin typeface="Book Antiqua" panose="02040602050305030304" pitchFamily="18" charset="0"/>
              </a:rPr>
              <a:t>, функции нефронов (клиренс), коагулограмма, общие анализы крови и мочи, биохимический анализ крови, рентгенография органов грудной клетки, эхокардиография;</a:t>
            </a:r>
          </a:p>
          <a:p>
            <a:pPr algn="just">
              <a:buNone/>
            </a:pPr>
            <a:br>
              <a:rPr lang="ru-RU" sz="2000" dirty="0"/>
            </a:br>
            <a:endParaRPr lang="ru-RU" sz="20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4A145C2-38E4-294B-9738-58E57C7580B3}"/>
              </a:ext>
            </a:extLst>
          </p:cNvPr>
          <p:cNvSpPr/>
          <p:nvPr/>
        </p:nvSpPr>
        <p:spPr>
          <a:xfrm>
            <a:off x="1467351" y="9160034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https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://</a:t>
            </a:r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DBDDA4C-EEC4-1E40-A08D-97B1023FBF2E}"/>
              </a:ext>
            </a:extLst>
          </p:cNvPr>
          <p:cNvSpPr/>
          <p:nvPr/>
        </p:nvSpPr>
        <p:spPr>
          <a:xfrm>
            <a:off x="8470036" y="1310447"/>
            <a:ext cx="69108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4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9935089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629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22343886-9228-EA47-B74B-ACF6A8CED9A1}"/>
              </a:ext>
            </a:extLst>
          </p:cNvPr>
          <p:cNvSpPr txBox="1">
            <a:spLocks/>
          </p:cNvSpPr>
          <p:nvPr/>
        </p:nvSpPr>
        <p:spPr bwMode="auto">
          <a:xfrm>
            <a:off x="1467351" y="2124582"/>
            <a:ext cx="15530692" cy="5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None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Больница оплатит моральные страдания родным пациентки, скончавшейся от разрыва аневризмы, даже если дефекты медпомощи не связаны с летальным исходом</a:t>
            </a:r>
          </a:p>
          <a:p>
            <a:pPr algn="just">
              <a:buNone/>
            </a:pP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бзор 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пределения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 Третьего КСОЮ от 19 августа 2020 г. по делу </a:t>
            </a:r>
            <a:r>
              <a:rPr lang="en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N 8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Г-13340/2020[88-13125/2020])</a:t>
            </a:r>
          </a:p>
          <a:p>
            <a:pPr algn="just">
              <a:buNone/>
            </a:pPr>
            <a:br>
              <a:rPr lang="ru-RU" sz="2000" dirty="0">
                <a:latin typeface="Book Antiqua" panose="02040602050305030304" pitchFamily="18" charset="0"/>
              </a:rPr>
            </a:br>
            <a:r>
              <a:rPr lang="ru-RU" sz="2000" dirty="0"/>
              <a:t>- </a:t>
            </a:r>
            <a:r>
              <a:rPr lang="ru-RU" sz="2000" dirty="0">
                <a:latin typeface="Book Antiqua" panose="02040602050305030304" pitchFamily="18" charset="0"/>
              </a:rPr>
              <a:t>судебные эксперты согласились с мнением коллег, а также дополнительно указали на иные дефекты - при первичном обращении пациента нет полного сбора анамнеза; нет полного осмотра пациента; не все подписи врачей имеют расшифровку; не назначена консультация врача-невролога; неполное соответствие стандарту офтальмологического осмотра: нет указания на профиль консультации, отсутствуют жалобы больной, в осмотре отсутствует описание глазного дна обоих глаз;</a:t>
            </a:r>
          </a:p>
          <a:p>
            <a:pPr algn="just"/>
            <a:r>
              <a:rPr lang="ru-RU" sz="2000" dirty="0">
                <a:latin typeface="Book Antiqua" panose="02040602050305030304" pitchFamily="18" charset="0"/>
              </a:rPr>
              <a:t>- в период оказания пациентке медпомощи у нее не обнаруживалось клинических признаков, позволяющих заподозрить наличие мешотчатой аневризмы основной артерии. Такая патология имеет возможность протекать бессимптомно, диагностика данной патологии возможна только при определенных диагностических мероприятиях, показаний к проведению которых в спорной ситуации не имелось;</a:t>
            </a:r>
          </a:p>
          <a:p>
            <a:pPr algn="just"/>
            <a:r>
              <a:rPr lang="ru-RU" sz="2000" dirty="0">
                <a:latin typeface="Book Antiqua" panose="02040602050305030304" pitchFamily="18" charset="0"/>
              </a:rPr>
              <a:t>- одновременно эксперты указали, что выявленные дефекты медпомощи не могли повлиять на развитие летального исхода от разрыва аневризмы сосудов головного мозга и в прямой причинно-следственной связи с наступлением ее смерти не состоят. Однако имеется непрямая (косвенная) связь данных дефектов со смертью пациентки, так как таковые явились неблагоприятными факторами протекания патологического процесса.</a:t>
            </a:r>
          </a:p>
          <a:p>
            <a:pPr>
              <a:buNone/>
            </a:pPr>
            <a:br>
              <a:rPr lang="ru-RU" sz="2000" dirty="0"/>
            </a:br>
            <a:endParaRPr lang="ru-RU" sz="20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4A145C2-38E4-294B-9738-58E57C7580B3}"/>
              </a:ext>
            </a:extLst>
          </p:cNvPr>
          <p:cNvSpPr/>
          <p:nvPr/>
        </p:nvSpPr>
        <p:spPr>
          <a:xfrm>
            <a:off x="1467351" y="9160034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https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://</a:t>
            </a:r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DBDDA4C-EEC4-1E40-A08D-97B1023FBF2E}"/>
              </a:ext>
            </a:extLst>
          </p:cNvPr>
          <p:cNvSpPr/>
          <p:nvPr/>
        </p:nvSpPr>
        <p:spPr>
          <a:xfrm>
            <a:off x="8470036" y="1310447"/>
            <a:ext cx="69108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4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63626406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6295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10" name="Содержимое 2">
            <a:extLst>
              <a:ext uri="{FF2B5EF4-FFF2-40B4-BE49-F238E27FC236}">
                <a16:creationId xmlns:a16="http://schemas.microsoft.com/office/drawing/2014/main" id="{22343886-9228-EA47-B74B-ACF6A8CED9A1}"/>
              </a:ext>
            </a:extLst>
          </p:cNvPr>
          <p:cNvSpPr txBox="1">
            <a:spLocks/>
          </p:cNvSpPr>
          <p:nvPr/>
        </p:nvSpPr>
        <p:spPr bwMode="auto">
          <a:xfrm>
            <a:off x="1467351" y="2124582"/>
            <a:ext cx="15530692" cy="509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buNone/>
            </a:pPr>
            <a:r>
              <a:rPr lang="ru-RU" sz="2000" b="1" dirty="0">
                <a:solidFill>
                  <a:srgbClr val="002060"/>
                </a:solidFill>
                <a:latin typeface="Book Antiqua" panose="02040602050305030304" pitchFamily="18" charset="0"/>
              </a:rPr>
              <a:t>Больница оплатит моральные страдания родным пациентки, скончавшейся от разрыва аневризмы, даже если дефекты медпомощи не связаны с летальным исходом</a:t>
            </a:r>
          </a:p>
          <a:p>
            <a:pPr algn="just">
              <a:buNone/>
            </a:pP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Обзор 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определения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 Третьего КСОЮ от 19 августа 2020 г. по делу </a:t>
            </a:r>
            <a:r>
              <a:rPr lang="en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N 8</a:t>
            </a:r>
            <a:r>
              <a:rPr lang="ru-RU" sz="2000" dirty="0">
                <a:solidFill>
                  <a:srgbClr val="0070C0"/>
                </a:solidFill>
                <a:latin typeface="Book Antiqua" panose="02040602050305030304" pitchFamily="18" charset="0"/>
              </a:rPr>
              <a:t>Г-13340/2020[88-13125/2020])</a:t>
            </a:r>
          </a:p>
          <a:p>
            <a:pPr algn="just"/>
            <a:br>
              <a:rPr lang="ru-RU" sz="2000" dirty="0">
                <a:latin typeface="Book Antiqua" panose="02040602050305030304" pitchFamily="18" charset="0"/>
              </a:rPr>
            </a:br>
            <a:r>
              <a:rPr lang="ru-RU" sz="2000" dirty="0">
                <a:latin typeface="Book Antiqua" panose="02040602050305030304" pitchFamily="18" charset="0"/>
              </a:rPr>
              <a:t>Суд счел, что: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отсутствие прямой причинно-следственной связи между смертью пациентки и действиями (бездействием) медицинских работников не опровергает обстоятельств, свидетельствующих о наличии нарушений при оказании ответчиком медпомощи;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и эти нарушения, безусловно, причиняли нравственные страдания истцу, который вправе был рассчитывать на квалифицированную и своевременную медицинскую помощь для своей матери;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- следовательно, требования сына пациентки правомерны.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И суд области, и Третий КСОЮ согласились с тем, что при определении размера компенсации морального вреда (300 000 рублей) суд первой инстанции исходил из характера нравственных страданий и переживаний истца вследствие некачественного оказания медицинской помощи его матери, степени вины причинителя вреда, отсутствия прямой причинно-следственной связи между допущенными ответчиком дефектами оказания медпомощи и смертью пациентки, а также требований разумности и справедливости.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Отметим, что это был не единственный иск о возмещении морального вреда в связи с теми же событиями - чуть ранее аналогичный иск был </a:t>
            </a:r>
            <a:r>
              <a:rPr lang="ru-RU" sz="2000" dirty="0">
                <a:latin typeface="Book Antiqua" panose="02040602050305030304" pitchFamily="18" charset="0"/>
                <a:hlinkClick r:id="rId7"/>
              </a:rPr>
              <a:t>выигран</a:t>
            </a:r>
            <a:r>
              <a:rPr lang="ru-RU" sz="2000" dirty="0">
                <a:latin typeface="Book Antiqua" panose="02040602050305030304" pitchFamily="18" charset="0"/>
              </a:rPr>
              <a:t> вдовцом (и, соответственно, отцом истца по настоящему делу), при этом суд по делу сына опирался, в том числе, и на выводы суда по делу вдовца.</a:t>
            </a:r>
          </a:p>
          <a:p>
            <a:pPr algn="just">
              <a:buNone/>
            </a:pPr>
            <a:r>
              <a:rPr lang="ru-RU" sz="2000" dirty="0">
                <a:latin typeface="Book Antiqua" panose="02040602050305030304" pitchFamily="18" charset="0"/>
              </a:rPr>
              <a:t>Сумма компенсации морального вреда в обоих делах одинакова - 300 000 рублей.</a:t>
            </a:r>
          </a:p>
          <a:p>
            <a:pPr algn="just">
              <a:buNone/>
            </a:pPr>
            <a:endParaRPr lang="ru-RU" sz="2200" b="1" dirty="0">
              <a:solidFill>
                <a:srgbClr val="002060"/>
              </a:solidFill>
              <a:latin typeface="Book Antiqua" panose="0204060205030503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74A145C2-38E4-294B-9738-58E57C7580B3}"/>
              </a:ext>
            </a:extLst>
          </p:cNvPr>
          <p:cNvSpPr/>
          <p:nvPr/>
        </p:nvSpPr>
        <p:spPr>
          <a:xfrm>
            <a:off x="1467351" y="9467848"/>
            <a:ext cx="29899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https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://</a:t>
            </a:r>
            <a:r>
              <a:rPr lang="ru-RU" dirty="0" err="1">
                <a:solidFill>
                  <a:srgbClr val="0070C0"/>
                </a:solidFill>
                <a:latin typeface="Book Antiqua" panose="02040602050305030304" pitchFamily="18" charset="0"/>
              </a:rPr>
              <a:t>internet.garant.ru</a:t>
            </a:r>
            <a:r>
              <a:rPr lang="ru-RU" dirty="0">
                <a:solidFill>
                  <a:srgbClr val="0070C0"/>
                </a:solidFill>
                <a:latin typeface="Book Antiqua" panose="02040602050305030304" pitchFamily="18" charset="0"/>
              </a:rPr>
              <a:t>/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DBDDA4C-EEC4-1E40-A08D-97B1023FBF2E}"/>
              </a:ext>
            </a:extLst>
          </p:cNvPr>
          <p:cNvSpPr/>
          <p:nvPr/>
        </p:nvSpPr>
        <p:spPr>
          <a:xfrm>
            <a:off x="8470036" y="1310447"/>
            <a:ext cx="69108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Критерии </a:t>
            </a:r>
            <a:r>
              <a:rPr lang="ru-RU" sz="2400" dirty="0">
                <a:solidFill>
                  <a:srgbClr val="002060"/>
                </a:solidFill>
                <a:latin typeface="Bookman Old Style" panose="02050604050505020204" pitchFamily="18" charset="0"/>
              </a:rPr>
              <a:t>качества медицинской помощ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3981908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3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4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5"/>
          <a:srcRect t="2734" r="5767" b="17243"/>
          <a:stretch/>
        </p:blipFill>
        <p:spPr>
          <a:xfrm>
            <a:off x="0" y="-1476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6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Объект 6"/>
          <p:cNvSpPr txBox="1">
            <a:spLocks/>
          </p:cNvSpPr>
          <p:nvPr/>
        </p:nvSpPr>
        <p:spPr>
          <a:xfrm>
            <a:off x="2073499" y="1175356"/>
            <a:ext cx="14759189" cy="756939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20000"/>
              </a:lnSpc>
              <a:spcBef>
                <a:spcPct val="0"/>
              </a:spcBef>
              <a:buSzPct val="80000"/>
              <a:buFont typeface="Arial" charset="0"/>
              <a:buNone/>
              <a:defRPr/>
            </a:pPr>
            <a:endParaRPr lang="ru-RU" altLang="ru-RU" sz="6000" dirty="0">
              <a:latin typeface="Book Antiqua" panose="02040602050305030304" pitchFamily="18" charset="0"/>
            </a:endParaRPr>
          </a:p>
          <a:p>
            <a:pPr algn="just">
              <a:lnSpc>
                <a:spcPct val="120000"/>
              </a:lnSpc>
              <a:spcBef>
                <a:spcPct val="0"/>
              </a:spcBef>
              <a:buSzPct val="80000"/>
              <a:buFont typeface="Wingdings" panose="05000000000000000000" pitchFamily="2" charset="2"/>
              <a:buChar char="§"/>
              <a:defRPr/>
            </a:pPr>
            <a:endParaRPr lang="ru-RU" altLang="ru-RU" sz="11200" b="1" dirty="0">
              <a:latin typeface="Book Antiqua" panose="02040602050305030304" pitchFamily="18" charset="0"/>
            </a:endParaRPr>
          </a:p>
          <a:p>
            <a:pPr marL="0" indent="0" algn="ctr">
              <a:lnSpc>
                <a:spcPct val="120000"/>
              </a:lnSpc>
              <a:spcBef>
                <a:spcPct val="0"/>
              </a:spcBef>
              <a:buSzPct val="80000"/>
              <a:buFont typeface="Arial" charset="0"/>
              <a:buNone/>
              <a:defRPr/>
            </a:pPr>
            <a:r>
              <a:rPr lang="ru-RU" altLang="ru-RU" sz="5200" dirty="0">
                <a:solidFill>
                  <a:srgbClr val="0070C0"/>
                </a:solidFill>
                <a:latin typeface="Book Antiqua" panose="02040602050305030304" pitchFamily="18" charset="0"/>
              </a:rPr>
              <a:t>БЛАГОДАРЮ ЗА ВНИМАНИЕ! </a:t>
            </a:r>
            <a:br>
              <a:rPr lang="ru-RU" altLang="ru-RU" sz="5200" dirty="0">
                <a:solidFill>
                  <a:srgbClr val="0070C0"/>
                </a:solidFill>
                <a:latin typeface="Book Antiqua" panose="02040602050305030304" pitchFamily="18" charset="0"/>
              </a:rPr>
            </a:br>
            <a:endParaRPr lang="ru-RU" altLang="ru-RU" sz="5200" dirty="0">
              <a:solidFill>
                <a:srgbClr val="0070C0"/>
              </a:solidFill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876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268949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1706365"/>
            <a:ext cx="15699782" cy="5161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solidFill>
                  <a:srgbClr val="C00000"/>
                </a:solidFill>
                <a:effectLst/>
                <a:latin typeface="Book Antiqua" panose="0204060205030503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 Приказа МЗ РФ от 09.06.2022 №ДГ-П54-9707 </a:t>
            </a:r>
            <a:r>
              <a:rPr lang="ru-RU" sz="2000" dirty="0">
                <a:effectLst/>
                <a:latin typeface="Book Antiqua" panose="02040602050305030304" pitchFamily="18" charset="0"/>
                <a:ea typeface="Calibri" panose="020F0502020204030204" pitchFamily="34" charset="0"/>
              </a:rPr>
              <a:t>«</a:t>
            </a:r>
            <a:r>
              <a:rPr lang="ru-RU" sz="2000" dirty="0">
                <a:effectLst/>
                <a:latin typeface="Book Antiqua" panose="0204060205030503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Об утверждении перечня лекарственных препаратов для медицинского применения в целях обеспечения в амбулаторных условиях лиц, которые перенесли острое нарушение мозгового кровообращения, инфаркт миокарда, а также которым были выполнены аортокоронарное шунтирование, ангиопластика коронарных артерий со </a:t>
            </a:r>
            <a:r>
              <a:rPr lang="ru-RU" sz="2000" dirty="0" err="1">
                <a:effectLst/>
                <a:latin typeface="Book Antiqua" panose="0204060205030503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стентированием</a:t>
            </a:r>
            <a:r>
              <a:rPr lang="ru-RU" sz="2000" dirty="0">
                <a:effectLst/>
                <a:latin typeface="Book Antiqua" panose="0204060205030503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ru-RU" sz="2000" dirty="0" err="1">
                <a:effectLst/>
                <a:latin typeface="Book Antiqua" panose="0204060205030503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катетерная</a:t>
            </a:r>
            <a:r>
              <a:rPr lang="ru-RU" sz="2000" dirty="0">
                <a:effectLst/>
                <a:latin typeface="Book Antiqua" panose="0204060205030503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абляция по поводу сердечно-сосудистых заболеваний в течение 2 лет с даты постановки диагноза и (или) выполнения хирургического вмешательства» </a:t>
            </a: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endParaRPr lang="ru-RU" altLang="ru-RU" sz="2000" b="1" dirty="0">
              <a:solidFill>
                <a:srgbClr val="000000"/>
              </a:solidFill>
              <a:latin typeface="Book Antiqua" panose="02040602050305030304" pitchFamily="18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Content Placeholder 4">
            <a:extLst>
              <a:ext uri="{FF2B5EF4-FFF2-40B4-BE49-F238E27FC236}">
                <a16:creationId xmlns:a16="http://schemas.microsoft.com/office/drawing/2014/main" id="{D1B2B5B2-132C-2D57-DC5E-1A3D8F58987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7513" y="3904148"/>
            <a:ext cx="5187245" cy="530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67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-114299" y="0"/>
            <a:ext cx="18402299" cy="1435437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315320" y="193706"/>
            <a:ext cx="1318840" cy="1169467"/>
          </a:xfrm>
          <a:prstGeom prst="rect">
            <a:avLst/>
          </a:prstGeom>
          <a:ln w="0">
            <a:noFill/>
          </a:ln>
        </p:spPr>
      </p:pic>
      <p:pic>
        <p:nvPicPr>
          <p:cNvPr id="1026" name="Picture 2" descr="page10image28341872">
            <a:extLst>
              <a:ext uri="{FF2B5EF4-FFF2-40B4-BE49-F238E27FC236}">
                <a16:creationId xmlns:a16="http://schemas.microsoft.com/office/drawing/2014/main" id="{1EF43417-ACEB-AF20-B11D-3265FEB44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481" y="1363173"/>
            <a:ext cx="8277840" cy="8573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5064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-372699"/>
            <a:ext cx="18288000" cy="10669419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603914" y="2138767"/>
            <a:ext cx="15358820" cy="463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Льготное лекарственное обеспечение больных сердечно-сосудистыми заболеваниями</a:t>
            </a:r>
            <a:r>
              <a:rPr lang="en-US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 (</a:t>
            </a: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Федеральные нормативные акты)</a:t>
            </a: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endParaRPr lang="ru-RU" sz="2000" b="1" dirty="0">
              <a:solidFill>
                <a:srgbClr val="C00000"/>
              </a:solidFill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ct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остановление Правительства РФ от 24 декабря 2021 г. </a:t>
            </a:r>
            <a:r>
              <a:rPr lang="ru-RU" sz="2000" b="1" dirty="0" err="1">
                <a:latin typeface="Book Antiqua" panose="02040602050305030304" pitchFamily="18" charset="0"/>
              </a:rPr>
              <a:t>N</a:t>
            </a:r>
            <a:r>
              <a:rPr lang="ru-RU" sz="2000" b="1" dirty="0">
                <a:latin typeface="Book Antiqua" panose="02040602050305030304" pitchFamily="18" charset="0"/>
              </a:rPr>
              <a:t> 2462 "О внесении изменений в государственную программу Российской Федерации "Развитие здравоохранения"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Субсидии не предоставляются в целях </a:t>
            </a:r>
            <a:r>
              <a:rPr lang="ru-RU" sz="2000" b="1" dirty="0" err="1">
                <a:latin typeface="Book Antiqua" panose="02040602050305030304" pitchFamily="18" charset="0"/>
              </a:rPr>
              <a:t>софинансирования</a:t>
            </a:r>
            <a:r>
              <a:rPr lang="ru-RU" sz="2000" b="1" dirty="0">
                <a:latin typeface="Book Antiqua" panose="02040602050305030304" pitchFamily="18" charset="0"/>
              </a:rPr>
              <a:t> </a:t>
            </a:r>
            <a:r>
              <a:rPr lang="ru-RU" sz="2000" dirty="0">
                <a:latin typeface="Book Antiqua" panose="02040602050305030304" pitchFamily="18" charset="0"/>
              </a:rPr>
              <a:t>расходных обязательств субъектов Российской Федерации, возникающих при обеспечении в амбулаторных условиях лекарственными препаратами в соответствии с перечнем, утвержденным Министерством здравоохранения Российской Федерации, лиц, находящихся под диспансерным наблюдением, которые перенесли острое нарушение мозгового кровообращения, инфаркт миокарда, а также которым выполнены аортокоронарное шунтирование, </a:t>
            </a:r>
            <a:r>
              <a:rPr lang="ru-RU" sz="2000" dirty="0" err="1">
                <a:latin typeface="Book Antiqua" panose="02040602050305030304" pitchFamily="18" charset="0"/>
              </a:rPr>
              <a:t>ангиопластика</a:t>
            </a:r>
            <a:r>
              <a:rPr lang="ru-RU" sz="2000" dirty="0">
                <a:latin typeface="Book Antiqua" panose="02040602050305030304" pitchFamily="18" charset="0"/>
              </a:rPr>
              <a:t> коронарных артерий со </a:t>
            </a:r>
            <a:r>
              <a:rPr lang="ru-RU" sz="2000" dirty="0" err="1">
                <a:latin typeface="Book Antiqua" panose="02040602050305030304" pitchFamily="18" charset="0"/>
              </a:rPr>
              <a:t>стентированием</a:t>
            </a:r>
            <a:r>
              <a:rPr lang="ru-RU" sz="2000" dirty="0">
                <a:latin typeface="Book Antiqua" panose="02040602050305030304" pitchFamily="18" charset="0"/>
              </a:rPr>
              <a:t> и </a:t>
            </a:r>
            <a:r>
              <a:rPr lang="ru-RU" sz="2000" dirty="0" err="1">
                <a:latin typeface="Book Antiqua" panose="02040602050305030304" pitchFamily="18" charset="0"/>
              </a:rPr>
              <a:t>катетерная</a:t>
            </a:r>
            <a:r>
              <a:rPr lang="ru-RU" sz="2000" dirty="0">
                <a:latin typeface="Book Antiqua" panose="02040602050305030304" pitchFamily="18" charset="0"/>
              </a:rPr>
              <a:t> абляция по поводу сердечно-сосудистых заболеваний, </a:t>
            </a:r>
            <a:r>
              <a:rPr lang="ru-RU" sz="2000" b="1" dirty="0">
                <a:latin typeface="Book Antiqua" panose="02040602050305030304" pitchFamily="18" charset="0"/>
              </a:rPr>
              <a:t>имеющих право на получение социальной услуги в виде обеспечения лекарственными препаратами для медицинского применения в соответствии с Федеральным законом "О государственной социальной помощи»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buNone/>
            </a:pPr>
            <a:endParaRPr lang="ru-RU" sz="2000" b="1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4612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19051" y="-1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363851" y="2362893"/>
            <a:ext cx="15637790" cy="4890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Льготное лекарственное обеспечение больных сердечно-сосудистыми заболеваниями ( пример регионального акта)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остановление Правительства Москвы от 22 октября 2019 г. </a:t>
            </a:r>
            <a:r>
              <a:rPr lang="en" sz="2000" b="1" dirty="0">
                <a:latin typeface="Book Antiqua" panose="02040602050305030304" pitchFamily="18" charset="0"/>
              </a:rPr>
              <a:t>N 1372-</a:t>
            </a:r>
            <a:r>
              <a:rPr lang="ru-RU" sz="2000" b="1" dirty="0">
                <a:latin typeface="Book Antiqua" panose="02040602050305030304" pitchFamily="18" charset="0"/>
              </a:rPr>
              <a:t>ПП</a:t>
            </a:r>
            <a:r>
              <a:rPr lang="ru-RU" sz="2000" dirty="0">
                <a:latin typeface="Book Antiqua" panose="02040602050305030304" pitchFamily="18" charset="0"/>
              </a:rPr>
              <a:t> "О гарантиях дополнительного лекарственного обеспечения лицам, больным сердечно-сосудистыми заболеваниями ( с изменениями и дополнениями)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Гарантии дополнительного лекарственного обеспечения, предусматривающего обеспечение лекарственными препаратами, отпускаемыми бесплатно по рецептам на лекарственные препараты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Book Antiqua" panose="02040602050305030304" pitchFamily="18" charset="0"/>
              </a:rPr>
              <a:t>Лицам, которые страдают мерцательной аритмией (болезнями сердца с фибрилляцией и (или) трепетанием предсердий) либо </a:t>
            </a:r>
            <a:r>
              <a:rPr lang="ru-RU" sz="2000" dirty="0" err="1">
                <a:latin typeface="Book Antiqua" panose="02040602050305030304" pitchFamily="18" charset="0"/>
              </a:rPr>
              <a:t>гиперлипидемией</a:t>
            </a:r>
            <a:r>
              <a:rPr lang="ru-RU" sz="2000" dirty="0">
                <a:latin typeface="Book Antiqua" panose="02040602050305030304" pitchFamily="18" charset="0"/>
              </a:rPr>
              <a:t> с очень высоким риском развития сердечно-сосудистых заболеваний, </a:t>
            </a:r>
            <a:r>
              <a:rPr lang="ru-RU" sz="2000" b="1" dirty="0">
                <a:latin typeface="Book Antiqua" panose="02040602050305030304" pitchFamily="18" charset="0"/>
              </a:rPr>
              <a:t>- пожизненно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ru-RU" sz="2000" b="1" dirty="0">
              <a:latin typeface="Book Antiqua" panose="0204060205030503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dirty="0">
                <a:latin typeface="Book Antiqua" panose="02040602050305030304" pitchFamily="18" charset="0"/>
              </a:rPr>
              <a:t> Лицам, которые перенесли острое нарушение мозгового кровообращения либо инфаркт миокарда, которым выполнены аортокоронарное шунтирование, и (или) </a:t>
            </a:r>
            <a:r>
              <a:rPr lang="ru-RU" sz="2000" dirty="0" err="1">
                <a:latin typeface="Book Antiqua" panose="02040602050305030304" pitchFamily="18" charset="0"/>
              </a:rPr>
              <a:t>ангиопластика</a:t>
            </a:r>
            <a:r>
              <a:rPr lang="ru-RU" sz="2000" dirty="0">
                <a:latin typeface="Book Antiqua" panose="02040602050305030304" pitchFamily="18" charset="0"/>
              </a:rPr>
              <a:t> коронарных артерий со </a:t>
            </a:r>
            <a:r>
              <a:rPr lang="ru-RU" sz="2000" dirty="0" err="1">
                <a:latin typeface="Book Antiqua" panose="02040602050305030304" pitchFamily="18" charset="0"/>
              </a:rPr>
              <a:t>стентированием</a:t>
            </a:r>
            <a:r>
              <a:rPr lang="ru-RU" sz="2000" dirty="0">
                <a:latin typeface="Book Antiqua" panose="02040602050305030304" pitchFamily="18" charset="0"/>
              </a:rPr>
              <a:t>, и (или) </a:t>
            </a:r>
            <a:r>
              <a:rPr lang="ru-RU" sz="2000" dirty="0" err="1">
                <a:latin typeface="Book Antiqua" panose="02040602050305030304" pitchFamily="18" charset="0"/>
              </a:rPr>
              <a:t>катетерная</a:t>
            </a:r>
            <a:r>
              <a:rPr lang="ru-RU" sz="2000" dirty="0">
                <a:latin typeface="Book Antiqua" panose="02040602050305030304" pitchFamily="18" charset="0"/>
              </a:rPr>
              <a:t> абляция по поводу сердечно-сосудистых заболеваний, - </a:t>
            </a:r>
            <a:r>
              <a:rPr lang="ru-RU" sz="2000" b="1" dirty="0">
                <a:latin typeface="Book Antiqua" panose="02040602050305030304" pitchFamily="18" charset="0"/>
              </a:rPr>
              <a:t>в течение двух лет с даты постановки на диспансерное наблюдение в связи с перенесением таких заболеваний или выполнением таких медицинских вмешательств, исчисляемых с 1 января 2021 г..</a:t>
            </a:r>
            <a:endParaRPr lang="en-US" sz="2000" b="1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latin typeface="Book Antiqua" panose="02040602050305030304" pitchFamily="18" charset="0"/>
              </a:rPr>
              <a:t>В приложении определен </a:t>
            </a:r>
            <a:r>
              <a:rPr lang="ru-RU" sz="2000" dirty="0">
                <a:latin typeface="Book Antiqua" panose="02040602050305030304" pitchFamily="18" charset="0"/>
              </a:rPr>
              <a:t>Перечень лекарственных препаратов для медицинского применения для бесплатного обеспечения в амбулаторных условиях граждан из числа данных лиц заболеваний</a:t>
            </a:r>
          </a:p>
        </p:txBody>
      </p:sp>
    </p:spTree>
    <p:extLst>
      <p:ext uri="{BB962C8B-B14F-4D97-AF65-F5344CB8AC3E}">
        <p14:creationId xmlns:p14="http://schemas.microsoft.com/office/powerpoint/2010/main" val="42459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Google Shape;102;p25"/>
          <p:cNvPicPr/>
          <p:nvPr/>
        </p:nvPicPr>
        <p:blipFill>
          <a:blip r:embed="rId2"/>
          <a:srcRect t="170369" b="-170369"/>
          <a:stretch/>
        </p:blipFill>
        <p:spPr>
          <a:xfrm>
            <a:off x="6693840" y="9392400"/>
            <a:ext cx="4877280" cy="889560"/>
          </a:xfrm>
          <a:prstGeom prst="rect">
            <a:avLst/>
          </a:prstGeom>
          <a:ln w="0">
            <a:noFill/>
          </a:ln>
        </p:spPr>
      </p:pic>
      <p:sp>
        <p:nvSpPr>
          <p:cNvPr id="39" name="CustomShape 1"/>
          <p:cNvSpPr/>
          <p:nvPr/>
        </p:nvSpPr>
        <p:spPr>
          <a:xfrm>
            <a:off x="5004720" y="3666240"/>
            <a:ext cx="8277840" cy="62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2880" tIns="182880" rIns="182880" bIns="182880">
            <a:noAutofit/>
          </a:bodyPr>
          <a:lstStyle/>
          <a:p>
            <a:pPr algn="ctr">
              <a:lnSpc>
                <a:spcPct val="100000"/>
              </a:lnSpc>
              <a:tabLst>
                <a:tab pos="0" algn="l"/>
              </a:tabLst>
            </a:pPr>
            <a:r>
              <a:rPr lang="ru" sz="3000" b="0" strike="noStrike" spc="-1">
                <a:solidFill>
                  <a:srgbClr val="0096D7"/>
                </a:solidFill>
                <a:latin typeface="Verdana"/>
                <a:ea typeface="Verdana"/>
              </a:rPr>
              <a:t>ЛЕКЦИЯ ЭКСПЕРТА</a:t>
            </a:r>
            <a:endParaRPr lang="ru-RU" sz="3000" b="0" strike="noStrike" spc="-1">
              <a:latin typeface="Arial"/>
            </a:endParaRPr>
          </a:p>
        </p:txBody>
      </p:sp>
      <p:pic>
        <p:nvPicPr>
          <p:cNvPr id="40" name="Google Shape;104;p25"/>
          <p:cNvPicPr/>
          <p:nvPr/>
        </p:nvPicPr>
        <p:blipFill>
          <a:blip r:embed="rId3"/>
          <a:stretch/>
        </p:blipFill>
        <p:spPr>
          <a:xfrm>
            <a:off x="10211400" y="8392680"/>
            <a:ext cx="3698640" cy="190404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40"/>
          <p:cNvPicPr/>
          <p:nvPr/>
        </p:nvPicPr>
        <p:blipFill rotWithShape="1">
          <a:blip r:embed="rId4"/>
          <a:srcRect t="2734" r="5767" b="17243"/>
          <a:stretch/>
        </p:blipFill>
        <p:spPr>
          <a:xfrm>
            <a:off x="0" y="0"/>
            <a:ext cx="18497550" cy="10296721"/>
          </a:xfrm>
          <a:prstGeom prst="rect">
            <a:avLst/>
          </a:prstGeom>
          <a:ln w="0">
            <a:noFill/>
          </a:ln>
        </p:spPr>
      </p:pic>
      <p:pic>
        <p:nvPicPr>
          <p:cNvPr id="44" name="Рисунок 43"/>
          <p:cNvPicPr/>
          <p:nvPr/>
        </p:nvPicPr>
        <p:blipFill>
          <a:blip r:embed="rId5"/>
          <a:stretch/>
        </p:blipFill>
        <p:spPr>
          <a:xfrm>
            <a:off x="16429902" y="193706"/>
            <a:ext cx="1318840" cy="1169467"/>
          </a:xfrm>
          <a:prstGeom prst="rect">
            <a:avLst/>
          </a:prstGeom>
          <a:ln w="0">
            <a:noFill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03335" y="2362893"/>
            <a:ext cx="15482807" cy="4621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 indent="-3429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9144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8288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86000" indent="-3429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432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2004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576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114800" indent="-3429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solidFill>
                  <a:srgbClr val="C00000"/>
                </a:solidFill>
                <a:latin typeface="Book Antiqua" panose="02040602050305030304" pitchFamily="18" charset="0"/>
              </a:rPr>
              <a:t>Льготное лекарственное обеспечение больных сердечно-сосудистыми заболеваниями (региональные акты)</a:t>
            </a:r>
          </a:p>
          <a:p>
            <a:pPr indent="0" algn="just">
              <a:spcBef>
                <a:spcPts val="0"/>
              </a:spcBef>
              <a:buNone/>
            </a:pPr>
            <a:endParaRPr lang="ru-RU" sz="2000" b="1" dirty="0">
              <a:latin typeface="Book Antiqua" panose="02040602050305030304" pitchFamily="18" charset="0"/>
            </a:endParaRPr>
          </a:p>
          <a:p>
            <a:pPr indent="0" algn="just">
              <a:spcBef>
                <a:spcPts val="0"/>
              </a:spcBef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риказ Департамента здравоохранения г. Москвы от 12 мая 2021 г. </a:t>
            </a:r>
            <a:r>
              <a:rPr lang="en" sz="2000" b="1" dirty="0">
                <a:latin typeface="Book Antiqua" panose="02040602050305030304" pitchFamily="18" charset="0"/>
              </a:rPr>
              <a:t>N 429</a:t>
            </a:r>
            <a:r>
              <a:rPr lang="ru-RU" sz="2000" b="1" dirty="0">
                <a:latin typeface="Book Antiqua" panose="02040602050305030304" pitchFamily="18" charset="0"/>
              </a:rPr>
              <a:t> </a:t>
            </a:r>
            <a:r>
              <a:rPr lang="en" sz="2000" dirty="0">
                <a:latin typeface="Book Antiqua" panose="02040602050305030304" pitchFamily="18" charset="0"/>
              </a:rPr>
              <a:t>"</a:t>
            </a:r>
            <a:r>
              <a:rPr lang="ru-RU" sz="2000" dirty="0">
                <a:latin typeface="Book Antiqua" panose="02040602050305030304" pitchFamily="18" charset="0"/>
              </a:rPr>
              <a:t>Об утверждении порядков дополнительного лекарственного обеспечения граждан, имеющих место жительства в городе Москве, страдающих сердечно-сосудистыми заболеваниями»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None/>
            </a:pPr>
            <a:r>
              <a:rPr lang="ru-RU" sz="2000" dirty="0">
                <a:latin typeface="Book Antiqua" panose="02040602050305030304" pitchFamily="18" charset="0"/>
              </a:rPr>
              <a:t>Все пациенты с указанными заболеваниями, а также региональные льготники, имеющие право на бесплатное лекарственное обеспечение или с 50-процентной скидкой должны быть введены в  </a:t>
            </a:r>
            <a:r>
              <a:rPr lang="ru-RU" sz="2000" b="1" dirty="0">
                <a:latin typeface="Book Antiqua" panose="02040602050305030304" pitchFamily="18" charset="0"/>
              </a:rPr>
              <a:t>Единый городской регистр для учета в автоматизированной информационной системе города Москвы </a:t>
            </a:r>
            <a:r>
              <a:rPr lang="ru-RU" sz="2000" dirty="0">
                <a:latin typeface="Book Antiqua" panose="02040602050305030304" pitchFamily="18" charset="0"/>
              </a:rPr>
              <a:t>"Единая медицинская информационно-аналитическая система города Москвы" ( ЕМИАС) </a:t>
            </a:r>
          </a:p>
          <a:p>
            <a:pPr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None/>
            </a:pPr>
            <a:endParaRPr lang="ru-RU" sz="2000" dirty="0">
              <a:latin typeface="Book Antiqua" panose="02040602050305030304" pitchFamily="18" charset="0"/>
            </a:endParaRPr>
          </a:p>
          <a:p>
            <a:pPr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1800"/>
              <a:buNone/>
            </a:pPr>
            <a:r>
              <a:rPr lang="ru-RU" sz="2000" b="1" dirty="0">
                <a:latin typeface="Book Antiqua" panose="02040602050305030304" pitchFamily="18" charset="0"/>
              </a:rPr>
              <a:t>Приказ Департамента здравоохранения г. Москвы и Департамента информационных технологий г. Москвы от 1 декабря 2021 г. </a:t>
            </a:r>
            <a:r>
              <a:rPr lang="en" sz="2000" b="1" dirty="0">
                <a:latin typeface="Book Antiqua" panose="02040602050305030304" pitchFamily="18" charset="0"/>
              </a:rPr>
              <a:t>N 1188/64-16-716/21"</a:t>
            </a:r>
            <a:r>
              <a:rPr lang="ru-RU" sz="2000" dirty="0">
                <a:latin typeface="Book Antiqua" panose="02040602050305030304" pitchFamily="18" charset="0"/>
              </a:rPr>
              <a:t>О порядке ведения Единого городского регистра отдельных категорий граждан, имеющих право на обеспечение лекарственными препаратами, медицинскими изделиями, специализированными продуктами лечебного питания для детей-инвалидов, отпускаемыми по рецептам медицинских работников бесплатно или с 50-процентной скидкой в городе Москве</a:t>
            </a:r>
            <a:r>
              <a:rPr lang="en" sz="2000" dirty="0">
                <a:latin typeface="Book Antiqua" panose="02040602050305030304" pitchFamily="18" charset="0"/>
              </a:rPr>
              <a:t>"</a:t>
            </a:r>
            <a:endParaRPr lang="ru-RU" sz="200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376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69</TotalTime>
  <Words>6585</Words>
  <Application>Microsoft Macintosh PowerPoint</Application>
  <PresentationFormat>Произвольный</PresentationFormat>
  <Paragraphs>419</Paragraphs>
  <Slides>43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56" baseType="lpstr">
      <vt:lpstr>Arial</vt:lpstr>
      <vt:lpstr>Book Antiqua</vt:lpstr>
      <vt:lpstr>Bookman Old Style</vt:lpstr>
      <vt:lpstr>Calibri</vt:lpstr>
      <vt:lpstr>Calibri Light</vt:lpstr>
      <vt:lpstr>Century</vt:lpstr>
      <vt:lpstr>Rage Italic</vt:lpstr>
      <vt:lpstr>Symbol</vt:lpstr>
      <vt:lpstr>Times New Roman</vt:lpstr>
      <vt:lpstr>Verdana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иказ МЗ РФ от 15.03.2022 №168н «Об утверждении порядка проведения диспансерного наблюдения за взрослыми»</vt:lpstr>
      <vt:lpstr>Приказ МЗ РФ от 15.03.2022 №168н «Об утверждении порядка проведения диспансерного наблюдения за взрослыми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нтроль (надзор) качества и безопасности медицинской деятельности</vt:lpstr>
      <vt:lpstr> Правовой статус стандартов медицинской помощи  и клинических рекомендаций </vt:lpstr>
      <vt:lpstr>Презентация PowerPoint</vt:lpstr>
      <vt:lpstr> Правовой статус стандартов медицинской помощи и клинических рекомендаций </vt:lpstr>
      <vt:lpstr> Правовой статус стандартов медицинской помощи  и клинических рекомендаций </vt:lpstr>
      <vt:lpstr>Презентация PowerPoint</vt:lpstr>
      <vt:lpstr> Правовой статус стандартов медицинской помощи  и клинических рекомендаций </vt:lpstr>
      <vt:lpstr> Правовой статус стандартов медицинской помощи  и клинических рекомендаций </vt:lpstr>
      <vt:lpstr> Критерии качества медицинской помощи</vt:lpstr>
      <vt:lpstr> Критерии качества медицинской помощи</vt:lpstr>
      <vt:lpstr> Экспертиза качества медицинской помощ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Мария Щербакова</dc:creator>
  <dc:description/>
  <cp:lastModifiedBy>Юлия Павлова</cp:lastModifiedBy>
  <cp:revision>259</cp:revision>
  <dcterms:modified xsi:type="dcterms:W3CDTF">2022-09-20T20:01:24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1</vt:i4>
  </property>
  <property fmtid="{D5CDD505-2E9C-101B-9397-08002B2CF9AE}" pid="8" name="PresentationFormat">
    <vt:lpwstr>Произвольный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1</vt:i4>
  </property>
</Properties>
</file>